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7"/>
  </p:notesMasterIdLst>
  <p:sldIdLst>
    <p:sldId id="2299" r:id="rId5"/>
    <p:sldId id="2268" r:id="rId6"/>
    <p:sldId id="2315" r:id="rId7"/>
    <p:sldId id="2271" r:id="rId8"/>
    <p:sldId id="2314" r:id="rId9"/>
    <p:sldId id="2281" r:id="rId10"/>
    <p:sldId id="2301" r:id="rId11"/>
    <p:sldId id="2300" r:id="rId12"/>
    <p:sldId id="2275" r:id="rId13"/>
    <p:sldId id="2305" r:id="rId14"/>
    <p:sldId id="2309" r:id="rId15"/>
    <p:sldId id="2306" r:id="rId16"/>
    <p:sldId id="2311" r:id="rId17"/>
    <p:sldId id="2307" r:id="rId18"/>
    <p:sldId id="2313" r:id="rId19"/>
    <p:sldId id="2318" r:id="rId20"/>
    <p:sldId id="2316" r:id="rId21"/>
    <p:sldId id="2319" r:id="rId22"/>
    <p:sldId id="2320" r:id="rId23"/>
    <p:sldId id="2317" r:id="rId24"/>
    <p:sldId id="2321" r:id="rId25"/>
    <p:sldId id="2322" r:id="rId26"/>
  </p:sldIdLst>
  <p:sldSz cx="9144000" cy="6858000" type="screen4x3"/>
  <p:notesSz cx="6950075" cy="9236075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40" userDrawn="1">
          <p15:clr>
            <a:srgbClr val="A4A3A4"/>
          </p15:clr>
        </p15:guide>
        <p15:guide id="3" pos="5760" userDrawn="1">
          <p15:clr>
            <a:srgbClr val="A4A3A4"/>
          </p15:clr>
        </p15:guide>
        <p15:guide id="4" orient="horz" pos="672" userDrawn="1">
          <p15:clr>
            <a:srgbClr val="A4A3A4"/>
          </p15:clr>
        </p15:guide>
        <p15:guide id="5" orient="horz" pos="2520" userDrawn="1">
          <p15:clr>
            <a:srgbClr val="A4A3A4"/>
          </p15:clr>
        </p15:guide>
        <p15:guide id="6" orient="horz" pos="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ncan Webber" initials="DW" lastIdx="1" clrIdx="0">
    <p:extLst>
      <p:ext uri="{19B8F6BF-5375-455C-9EA6-DF929625EA0E}">
        <p15:presenceInfo xmlns:p15="http://schemas.microsoft.com/office/powerpoint/2012/main" userId="S::dwebber@gcaglobal.com::42ae848e-513b-4a2b-ad4c-739f0ab365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652"/>
    <a:srgbClr val="82B3DB"/>
    <a:srgbClr val="0095DA"/>
    <a:srgbClr val="7F7F7F"/>
    <a:srgbClr val="999999"/>
    <a:srgbClr val="E6E6E6"/>
    <a:srgbClr val="E0E0E0"/>
    <a:srgbClr val="6C6C6B"/>
    <a:srgbClr val="9F232C"/>
    <a:srgbClr val="7407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3299AB-CB17-4FE5-BF6C-2D353F93347B}" v="268" vWet="272" dt="2022-04-07T00:22:46.529"/>
    <p1510:client id="{43905168-391B-4393-9F34-DC37CAA0DDE9}" v="111" dt="2022-04-07T00:48:32.6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768" autoAdjust="0"/>
  </p:normalViewPr>
  <p:slideViewPr>
    <p:cSldViewPr snapToGrid="0">
      <p:cViewPr>
        <p:scale>
          <a:sx n="100" d="100"/>
          <a:sy n="100" d="100"/>
        </p:scale>
        <p:origin x="1914" y="114"/>
      </p:cViewPr>
      <p:guideLst>
        <p:guide pos="240"/>
        <p:guide pos="5760"/>
        <p:guide orient="horz" pos="672"/>
        <p:guide orient="horz" pos="2520"/>
        <p:guide orient="horz" pos="4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S::urn:spo:anon#f910e86a0fd5eab66dbd08e5c544117a493ab16c1f3f52dbd986755a1d04842d::" providerId="AD" clId="Web-{6AB06F20-CDC4-8A95-DD6C-10678A58A366}"/>
    <pc:docChg chg="modSld">
      <pc:chgData name="Guest User" userId="S::urn:spo:anon#f910e86a0fd5eab66dbd08e5c544117a493ab16c1f3f52dbd986755a1d04842d::" providerId="AD" clId="Web-{6AB06F20-CDC4-8A95-DD6C-10678A58A366}" dt="2022-04-04T18:55:06.698" v="71" actId="20577"/>
      <pc:docMkLst>
        <pc:docMk/>
      </pc:docMkLst>
      <pc:sldChg chg="addSp modSp">
        <pc:chgData name="Guest User" userId="S::urn:spo:anon#f910e86a0fd5eab66dbd08e5c544117a493ab16c1f3f52dbd986755a1d04842d::" providerId="AD" clId="Web-{6AB06F20-CDC4-8A95-DD6C-10678A58A366}" dt="2022-04-04T18:55:06.698" v="71" actId="20577"/>
        <pc:sldMkLst>
          <pc:docMk/>
          <pc:sldMk cId="3086235316" sldId="2281"/>
        </pc:sldMkLst>
        <pc:spChg chg="mod">
          <ac:chgData name="Guest User" userId="S::urn:spo:anon#f910e86a0fd5eab66dbd08e5c544117a493ab16c1f3f52dbd986755a1d04842d::" providerId="AD" clId="Web-{6AB06F20-CDC4-8A95-DD6C-10678A58A366}" dt="2022-04-04T18:54:35.274" v="51" actId="1076"/>
          <ac:spMkLst>
            <pc:docMk/>
            <pc:sldMk cId="3086235316" sldId="2281"/>
            <ac:spMk id="10" creationId="{1B4B5E6F-6227-4BF3-84D9-85F6F12976EC}"/>
          </ac:spMkLst>
        </pc:spChg>
        <pc:spChg chg="mod">
          <ac:chgData name="Guest User" userId="S::urn:spo:anon#f910e86a0fd5eab66dbd08e5c544117a493ab16c1f3f52dbd986755a1d04842d::" providerId="AD" clId="Web-{6AB06F20-CDC4-8A95-DD6C-10678A58A366}" dt="2022-04-04T18:53:33.520" v="39" actId="20577"/>
          <ac:spMkLst>
            <pc:docMk/>
            <pc:sldMk cId="3086235316" sldId="2281"/>
            <ac:spMk id="11" creationId="{4B47BB8A-3BC7-456F-BA2C-687CBAD9CE81}"/>
          </ac:spMkLst>
        </pc:spChg>
        <pc:spChg chg="add">
          <ac:chgData name="Guest User" userId="S::urn:spo:anon#f910e86a0fd5eab66dbd08e5c544117a493ab16c1f3f52dbd986755a1d04842d::" providerId="AD" clId="Web-{6AB06F20-CDC4-8A95-DD6C-10678A58A366}" dt="2022-04-04T18:53:38.645" v="40"/>
          <ac:spMkLst>
            <pc:docMk/>
            <pc:sldMk cId="3086235316" sldId="2281"/>
            <ac:spMk id="13" creationId="{6CFFCE19-2D3A-2706-CA5E-7CF366BAB950}"/>
          </ac:spMkLst>
        </pc:spChg>
        <pc:spChg chg="add mod">
          <ac:chgData name="Guest User" userId="S::urn:spo:anon#f910e86a0fd5eab66dbd08e5c544117a493ab16c1f3f52dbd986755a1d04842d::" providerId="AD" clId="Web-{6AB06F20-CDC4-8A95-DD6C-10678A58A366}" dt="2022-04-04T18:54:49.166" v="66" actId="1076"/>
          <ac:spMkLst>
            <pc:docMk/>
            <pc:sldMk cId="3086235316" sldId="2281"/>
            <ac:spMk id="14" creationId="{662CE81A-E3E6-66AE-3E33-32B2F6E5BB6E}"/>
          </ac:spMkLst>
        </pc:spChg>
        <pc:spChg chg="mod">
          <ac:chgData name="Guest User" userId="S::urn:spo:anon#f910e86a0fd5eab66dbd08e5c544117a493ab16c1f3f52dbd986755a1d04842d::" providerId="AD" clId="Web-{6AB06F20-CDC4-8A95-DD6C-10678A58A366}" dt="2022-04-04T18:55:06.698" v="71" actId="20577"/>
          <ac:spMkLst>
            <pc:docMk/>
            <pc:sldMk cId="3086235316" sldId="2281"/>
            <ac:spMk id="37" creationId="{988C440C-5FE7-4392-8856-269C9D616E41}"/>
          </ac:spMkLst>
        </pc:spChg>
        <pc:grpChg chg="mod">
          <ac:chgData name="Guest User" userId="S::urn:spo:anon#f910e86a0fd5eab66dbd08e5c544117a493ab16c1f3f52dbd986755a1d04842d::" providerId="AD" clId="Web-{6AB06F20-CDC4-8A95-DD6C-10678A58A366}" dt="2022-04-04T18:54:28.305" v="50" actId="1076"/>
          <ac:grpSpMkLst>
            <pc:docMk/>
            <pc:sldMk cId="3086235316" sldId="2281"/>
            <ac:grpSpMk id="8" creationId="{F44BA30D-CCDF-4BB6-AF2B-104C6647E3B8}"/>
          </ac:grpSpMkLst>
        </pc:grpChg>
        <pc:picChg chg="add mod">
          <ac:chgData name="Guest User" userId="S::urn:spo:anon#f910e86a0fd5eab66dbd08e5c544117a493ab16c1f3f52dbd986755a1d04842d::" providerId="AD" clId="Web-{6AB06F20-CDC4-8A95-DD6C-10678A58A366}" dt="2022-04-04T18:52:36.563" v="3" actId="1076"/>
          <ac:picMkLst>
            <pc:docMk/>
            <pc:sldMk cId="3086235316" sldId="2281"/>
            <ac:picMk id="7" creationId="{0F637274-E042-14D4-6E43-1DB7CFD3DA00}"/>
          </ac:picMkLst>
        </pc:picChg>
      </pc:sldChg>
    </pc:docChg>
  </pc:docChgLst>
  <pc:docChgLst>
    <pc:chgData name="Bayron Quillay" userId="0b08cc2d-b048-41e2-a83a-291ca51e7f5e" providerId="ADAL" clId="{373299AB-CB17-4FE5-BF6C-2D353F93347B}"/>
    <pc:docChg chg="undo custSel addSld delSld modSld sldOrd">
      <pc:chgData name="Bayron Quillay" userId="0b08cc2d-b048-41e2-a83a-291ca51e7f5e" providerId="ADAL" clId="{373299AB-CB17-4FE5-BF6C-2D353F93347B}" dt="2022-04-06T22:22:32.578" v="1349" actId="478"/>
      <pc:docMkLst>
        <pc:docMk/>
      </pc:docMkLst>
      <pc:sldChg chg="add del">
        <pc:chgData name="Bayron Quillay" userId="0b08cc2d-b048-41e2-a83a-291ca51e7f5e" providerId="ADAL" clId="{373299AB-CB17-4FE5-BF6C-2D353F93347B}" dt="2022-04-06T02:08:23.346" v="831" actId="47"/>
        <pc:sldMkLst>
          <pc:docMk/>
          <pc:sldMk cId="3377385387" sldId="257"/>
        </pc:sldMkLst>
      </pc:sldChg>
      <pc:sldChg chg="add del">
        <pc:chgData name="Bayron Quillay" userId="0b08cc2d-b048-41e2-a83a-291ca51e7f5e" providerId="ADAL" clId="{373299AB-CB17-4FE5-BF6C-2D353F93347B}" dt="2022-04-06T02:08:15.343" v="830" actId="47"/>
        <pc:sldMkLst>
          <pc:docMk/>
          <pc:sldMk cId="4240481911" sldId="258"/>
        </pc:sldMkLst>
      </pc:sldChg>
      <pc:sldChg chg="addSp delSp modSp mod">
        <pc:chgData name="Bayron Quillay" userId="0b08cc2d-b048-41e2-a83a-291ca51e7f5e" providerId="ADAL" clId="{373299AB-CB17-4FE5-BF6C-2D353F93347B}" dt="2022-04-06T04:42:18.907" v="1169" actId="207"/>
        <pc:sldMkLst>
          <pc:docMk/>
          <pc:sldMk cId="2254250632" sldId="2268"/>
        </pc:sldMkLst>
        <pc:graphicFrameChg chg="add mod modGraphic">
          <ac:chgData name="Bayron Quillay" userId="0b08cc2d-b048-41e2-a83a-291ca51e7f5e" providerId="ADAL" clId="{373299AB-CB17-4FE5-BF6C-2D353F93347B}" dt="2022-04-06T04:42:18.907" v="1169" actId="207"/>
          <ac:graphicFrameMkLst>
            <pc:docMk/>
            <pc:sldMk cId="2254250632" sldId="2268"/>
            <ac:graphicFrameMk id="3" creationId="{DE21A7F5-6F4F-4449-8706-796B1753A40C}"/>
          </ac:graphicFrameMkLst>
        </pc:graphicFrameChg>
        <pc:graphicFrameChg chg="del">
          <ac:chgData name="Bayron Quillay" userId="0b08cc2d-b048-41e2-a83a-291ca51e7f5e" providerId="ADAL" clId="{373299AB-CB17-4FE5-BF6C-2D353F93347B}" dt="2022-04-06T04:40:50.802" v="1157" actId="478"/>
          <ac:graphicFrameMkLst>
            <pc:docMk/>
            <pc:sldMk cId="2254250632" sldId="2268"/>
            <ac:graphicFrameMk id="8" creationId="{40B0C397-1276-4B34-8B9E-189EDBDB86F2}"/>
          </ac:graphicFrameMkLst>
        </pc:graphicFrameChg>
      </pc:sldChg>
      <pc:sldChg chg="del">
        <pc:chgData name="Bayron Quillay" userId="0b08cc2d-b048-41e2-a83a-291ca51e7f5e" providerId="ADAL" clId="{373299AB-CB17-4FE5-BF6C-2D353F93347B}" dt="2022-03-28T00:40:53.888" v="618" actId="47"/>
        <pc:sldMkLst>
          <pc:docMk/>
          <pc:sldMk cId="3211275059" sldId="2270"/>
        </pc:sldMkLst>
      </pc:sldChg>
      <pc:sldChg chg="addSp delSp modSp mod">
        <pc:chgData name="Bayron Quillay" userId="0b08cc2d-b048-41e2-a83a-291ca51e7f5e" providerId="ADAL" clId="{373299AB-CB17-4FE5-BF6C-2D353F93347B}" dt="2022-04-06T04:42:35.593" v="1171" actId="2084"/>
        <pc:sldMkLst>
          <pc:docMk/>
          <pc:sldMk cId="1198167232" sldId="2271"/>
        </pc:sldMkLst>
        <pc:graphicFrameChg chg="add mod modGraphic">
          <ac:chgData name="Bayron Quillay" userId="0b08cc2d-b048-41e2-a83a-291ca51e7f5e" providerId="ADAL" clId="{373299AB-CB17-4FE5-BF6C-2D353F93347B}" dt="2022-04-06T04:42:35.593" v="1171" actId="2084"/>
          <ac:graphicFrameMkLst>
            <pc:docMk/>
            <pc:sldMk cId="1198167232" sldId="2271"/>
            <ac:graphicFrameMk id="3" creationId="{4DA1465C-C6E6-4103-8A0E-8FE6862BC90B}"/>
          </ac:graphicFrameMkLst>
        </pc:graphicFrameChg>
        <pc:graphicFrameChg chg="del">
          <ac:chgData name="Bayron Quillay" userId="0b08cc2d-b048-41e2-a83a-291ca51e7f5e" providerId="ADAL" clId="{373299AB-CB17-4FE5-BF6C-2D353F93347B}" dt="2022-04-06T04:40:45.694" v="1155" actId="478"/>
          <ac:graphicFrameMkLst>
            <pc:docMk/>
            <pc:sldMk cId="1198167232" sldId="2271"/>
            <ac:graphicFrameMk id="11" creationId="{32C60265-FF8E-4477-B840-B8A7F7F70531}"/>
          </ac:graphicFrameMkLst>
        </pc:graphicFrameChg>
      </pc:sldChg>
      <pc:sldChg chg="addSp delSp modSp mod">
        <pc:chgData name="Bayron Quillay" userId="0b08cc2d-b048-41e2-a83a-291ca51e7f5e" providerId="ADAL" clId="{373299AB-CB17-4FE5-BF6C-2D353F93347B}" dt="2022-04-06T04:53:06.010" v="1239" actId="14100"/>
        <pc:sldMkLst>
          <pc:docMk/>
          <pc:sldMk cId="2130856185" sldId="2275"/>
        </pc:sldMkLst>
        <pc:spChg chg="mod">
          <ac:chgData name="Bayron Quillay" userId="0b08cc2d-b048-41e2-a83a-291ca51e7f5e" providerId="ADAL" clId="{373299AB-CB17-4FE5-BF6C-2D353F93347B}" dt="2022-04-06T03:38:49.826" v="911" actId="20577"/>
          <ac:spMkLst>
            <pc:docMk/>
            <pc:sldMk cId="2130856185" sldId="2275"/>
            <ac:spMk id="9" creationId="{AD84BC37-002C-4C7B-B769-FA19884ED057}"/>
          </ac:spMkLst>
        </pc:spChg>
        <pc:spChg chg="mod">
          <ac:chgData name="Bayron Quillay" userId="0b08cc2d-b048-41e2-a83a-291ca51e7f5e" providerId="ADAL" clId="{373299AB-CB17-4FE5-BF6C-2D353F93347B}" dt="2022-04-06T04:50:01.682" v="1231" actId="1076"/>
          <ac:spMkLst>
            <pc:docMk/>
            <pc:sldMk cId="2130856185" sldId="2275"/>
            <ac:spMk id="28" creationId="{77F00316-4C62-4C5A-AE90-0A8611511C3C}"/>
          </ac:spMkLst>
        </pc:spChg>
        <pc:spChg chg="mod">
          <ac:chgData name="Bayron Quillay" userId="0b08cc2d-b048-41e2-a83a-291ca51e7f5e" providerId="ADAL" clId="{373299AB-CB17-4FE5-BF6C-2D353F93347B}" dt="2022-04-06T04:50:33.966" v="1233" actId="1076"/>
          <ac:spMkLst>
            <pc:docMk/>
            <pc:sldMk cId="2130856185" sldId="2275"/>
            <ac:spMk id="29" creationId="{209032C8-7DCE-4882-B261-C8853BB139A8}"/>
          </ac:spMkLst>
        </pc:spChg>
        <pc:spChg chg="mod">
          <ac:chgData name="Bayron Quillay" userId="0b08cc2d-b048-41e2-a83a-291ca51e7f5e" providerId="ADAL" clId="{373299AB-CB17-4FE5-BF6C-2D353F93347B}" dt="2022-04-06T03:38:34.478" v="891" actId="1076"/>
          <ac:spMkLst>
            <pc:docMk/>
            <pc:sldMk cId="2130856185" sldId="2275"/>
            <ac:spMk id="54" creationId="{4F977625-DDBC-4FE6-971C-F78E1033D0CE}"/>
          </ac:spMkLst>
        </pc:spChg>
        <pc:grpChg chg="mod">
          <ac:chgData name="Bayron Quillay" userId="0b08cc2d-b048-41e2-a83a-291ca51e7f5e" providerId="ADAL" clId="{373299AB-CB17-4FE5-BF6C-2D353F93347B}" dt="2022-04-06T03:36:56.374" v="854" actId="1076"/>
          <ac:grpSpMkLst>
            <pc:docMk/>
            <pc:sldMk cId="2130856185" sldId="2275"/>
            <ac:grpSpMk id="77" creationId="{0F1927EF-891B-433B-8F12-B018E77CB5C2}"/>
          </ac:grpSpMkLst>
        </pc:grpChg>
        <pc:graphicFrameChg chg="add del mod">
          <ac:chgData name="Bayron Quillay" userId="0b08cc2d-b048-41e2-a83a-291ca51e7f5e" providerId="ADAL" clId="{373299AB-CB17-4FE5-BF6C-2D353F93347B}" dt="2022-04-06T03:35:06.555" v="839" actId="478"/>
          <ac:graphicFrameMkLst>
            <pc:docMk/>
            <pc:sldMk cId="2130856185" sldId="2275"/>
            <ac:graphicFrameMk id="63" creationId="{86E11F73-A305-46B2-ACA8-28211537A271}"/>
          </ac:graphicFrameMkLst>
        </pc:graphicFrameChg>
        <pc:graphicFrameChg chg="add del mod">
          <ac:chgData name="Bayron Quillay" userId="0b08cc2d-b048-41e2-a83a-291ca51e7f5e" providerId="ADAL" clId="{373299AB-CB17-4FE5-BF6C-2D353F93347B}" dt="2022-04-06T03:35:56.861" v="843" actId="478"/>
          <ac:graphicFrameMkLst>
            <pc:docMk/>
            <pc:sldMk cId="2130856185" sldId="2275"/>
            <ac:graphicFrameMk id="64" creationId="{86E11F73-A305-46B2-ACA8-28211537A271}"/>
          </ac:graphicFrameMkLst>
        </pc:graphicFrameChg>
        <pc:graphicFrameChg chg="add mod">
          <ac:chgData name="Bayron Quillay" userId="0b08cc2d-b048-41e2-a83a-291ca51e7f5e" providerId="ADAL" clId="{373299AB-CB17-4FE5-BF6C-2D353F93347B}" dt="2022-04-06T03:37:25.274" v="858" actId="1076"/>
          <ac:graphicFrameMkLst>
            <pc:docMk/>
            <pc:sldMk cId="2130856185" sldId="2275"/>
            <ac:graphicFrameMk id="70" creationId="{86E11F73-A305-46B2-ACA8-28211537A271}"/>
          </ac:graphicFrameMkLst>
        </pc:graphicFrameChg>
        <pc:picChg chg="add mod">
          <ac:chgData name="Bayron Quillay" userId="0b08cc2d-b048-41e2-a83a-291ca51e7f5e" providerId="ADAL" clId="{373299AB-CB17-4FE5-BF6C-2D353F93347B}" dt="2022-04-06T04:52:47.279" v="1234" actId="1076"/>
          <ac:picMkLst>
            <pc:docMk/>
            <pc:sldMk cId="2130856185" sldId="2275"/>
            <ac:picMk id="6" creationId="{F2E47C3E-5AB7-48EC-A744-A52C2E3142E0}"/>
          </ac:picMkLst>
        </pc:picChg>
        <pc:picChg chg="add mod">
          <ac:chgData name="Bayron Quillay" userId="0b08cc2d-b048-41e2-a83a-291ca51e7f5e" providerId="ADAL" clId="{373299AB-CB17-4FE5-BF6C-2D353F93347B}" dt="2022-04-06T04:53:06.010" v="1239" actId="14100"/>
          <ac:picMkLst>
            <pc:docMk/>
            <pc:sldMk cId="2130856185" sldId="2275"/>
            <ac:picMk id="34" creationId="{080A6563-F306-4452-A9F4-BB66C51328DC}"/>
          </ac:picMkLst>
        </pc:picChg>
        <pc:picChg chg="mod">
          <ac:chgData name="Bayron Quillay" userId="0b08cc2d-b048-41e2-a83a-291ca51e7f5e" providerId="ADAL" clId="{373299AB-CB17-4FE5-BF6C-2D353F93347B}" dt="2022-04-06T03:36:33.788" v="850" actId="1076"/>
          <ac:picMkLst>
            <pc:docMk/>
            <pc:sldMk cId="2130856185" sldId="2275"/>
            <ac:picMk id="35" creationId="{7B0DE844-E47F-4937-99DA-F94226418BB7}"/>
          </ac:picMkLst>
        </pc:picChg>
        <pc:picChg chg="mod">
          <ac:chgData name="Bayron Quillay" userId="0b08cc2d-b048-41e2-a83a-291ca51e7f5e" providerId="ADAL" clId="{373299AB-CB17-4FE5-BF6C-2D353F93347B}" dt="2022-04-06T04:45:25.328" v="1193" actId="1076"/>
          <ac:picMkLst>
            <pc:docMk/>
            <pc:sldMk cId="2130856185" sldId="2275"/>
            <ac:picMk id="84" creationId="{0DF16F83-AC73-463D-BD98-463F7101F1CD}"/>
          </ac:picMkLst>
        </pc:picChg>
        <pc:picChg chg="mod">
          <ac:chgData name="Bayron Quillay" userId="0b08cc2d-b048-41e2-a83a-291ca51e7f5e" providerId="ADAL" clId="{373299AB-CB17-4FE5-BF6C-2D353F93347B}" dt="2022-04-06T04:45:19.513" v="1192" actId="1076"/>
          <ac:picMkLst>
            <pc:docMk/>
            <pc:sldMk cId="2130856185" sldId="2275"/>
            <ac:picMk id="86" creationId="{182B0F99-ED86-4A9E-9F51-9DBB10BE2CF4}"/>
          </ac:picMkLst>
        </pc:picChg>
        <pc:picChg chg="mod">
          <ac:chgData name="Bayron Quillay" userId="0b08cc2d-b048-41e2-a83a-291ca51e7f5e" providerId="ADAL" clId="{373299AB-CB17-4FE5-BF6C-2D353F93347B}" dt="2022-04-06T03:36:38.191" v="851" actId="1076"/>
          <ac:picMkLst>
            <pc:docMk/>
            <pc:sldMk cId="2130856185" sldId="2275"/>
            <ac:picMk id="90" creationId="{9712EF29-5D4D-44B9-B932-44168F594007}"/>
          </ac:picMkLst>
        </pc:picChg>
      </pc:sldChg>
      <pc:sldChg chg="delSp modSp mod">
        <pc:chgData name="Bayron Quillay" userId="0b08cc2d-b048-41e2-a83a-291ca51e7f5e" providerId="ADAL" clId="{373299AB-CB17-4FE5-BF6C-2D353F93347B}" dt="2022-04-06T01:41:10.633" v="742" actId="1076"/>
        <pc:sldMkLst>
          <pc:docMk/>
          <pc:sldMk cId="3086235316" sldId="2281"/>
        </pc:sldMkLst>
        <pc:spChg chg="del mod">
          <ac:chgData name="Bayron Quillay" userId="0b08cc2d-b048-41e2-a83a-291ca51e7f5e" providerId="ADAL" clId="{373299AB-CB17-4FE5-BF6C-2D353F93347B}" dt="2022-04-06T01:40:34.242" v="738" actId="478"/>
          <ac:spMkLst>
            <pc:docMk/>
            <pc:sldMk cId="3086235316" sldId="2281"/>
            <ac:spMk id="13" creationId="{6CFFCE19-2D3A-2706-CA5E-7CF366BAB950}"/>
          </ac:spMkLst>
        </pc:spChg>
        <pc:picChg chg="mod">
          <ac:chgData name="Bayron Quillay" userId="0b08cc2d-b048-41e2-a83a-291ca51e7f5e" providerId="ADAL" clId="{373299AB-CB17-4FE5-BF6C-2D353F93347B}" dt="2022-04-06T01:41:10.633" v="742" actId="1076"/>
          <ac:picMkLst>
            <pc:docMk/>
            <pc:sldMk cId="3086235316" sldId="2281"/>
            <ac:picMk id="7" creationId="{0F637274-E042-14D4-6E43-1DB7CFD3DA00}"/>
          </ac:picMkLst>
        </pc:picChg>
        <pc:picChg chg="mod">
          <ac:chgData name="Bayron Quillay" userId="0b08cc2d-b048-41e2-a83a-291ca51e7f5e" providerId="ADAL" clId="{373299AB-CB17-4FE5-BF6C-2D353F93347B}" dt="2022-04-06T01:40:48.593" v="740" actId="14100"/>
          <ac:picMkLst>
            <pc:docMk/>
            <pc:sldMk cId="3086235316" sldId="2281"/>
            <ac:picMk id="12" creationId="{F2C76A77-2D9E-0345-809F-802921968089}"/>
          </ac:picMkLst>
        </pc:picChg>
      </pc:sldChg>
      <pc:sldChg chg="modSp del mod">
        <pc:chgData name="Bayron Quillay" userId="0b08cc2d-b048-41e2-a83a-291ca51e7f5e" providerId="ADAL" clId="{373299AB-CB17-4FE5-BF6C-2D353F93347B}" dt="2022-04-06T02:00:49.091" v="761" actId="47"/>
        <pc:sldMkLst>
          <pc:docMk/>
          <pc:sldMk cId="89206582" sldId="2293"/>
        </pc:sldMkLst>
        <pc:spChg chg="mod">
          <ac:chgData name="Bayron Quillay" userId="0b08cc2d-b048-41e2-a83a-291ca51e7f5e" providerId="ADAL" clId="{373299AB-CB17-4FE5-BF6C-2D353F93347B}" dt="2022-03-28T00:34:01.786" v="497" actId="20577"/>
          <ac:spMkLst>
            <pc:docMk/>
            <pc:sldMk cId="89206582" sldId="2293"/>
            <ac:spMk id="13" creationId="{5A398F2C-7C44-43F5-B601-660590383022}"/>
          </ac:spMkLst>
        </pc:spChg>
      </pc:sldChg>
      <pc:sldChg chg="modSp mod">
        <pc:chgData name="Bayron Quillay" userId="0b08cc2d-b048-41e2-a83a-291ca51e7f5e" providerId="ADAL" clId="{373299AB-CB17-4FE5-BF6C-2D353F93347B}" dt="2022-04-06T03:40:26.247" v="925" actId="20577"/>
        <pc:sldMkLst>
          <pc:docMk/>
          <pc:sldMk cId="766648648" sldId="2300"/>
        </pc:sldMkLst>
        <pc:spChg chg="mod">
          <ac:chgData name="Bayron Quillay" userId="0b08cc2d-b048-41e2-a83a-291ca51e7f5e" providerId="ADAL" clId="{373299AB-CB17-4FE5-BF6C-2D353F93347B}" dt="2022-03-28T00:19:03.024" v="494" actId="1076"/>
          <ac:spMkLst>
            <pc:docMk/>
            <pc:sldMk cId="766648648" sldId="2300"/>
            <ac:spMk id="2" creationId="{20C7D225-6D82-4505-9091-73375EDA83DC}"/>
          </ac:spMkLst>
        </pc:spChg>
        <pc:spChg chg="mod">
          <ac:chgData name="Bayron Quillay" userId="0b08cc2d-b048-41e2-a83a-291ca51e7f5e" providerId="ADAL" clId="{373299AB-CB17-4FE5-BF6C-2D353F93347B}" dt="2022-04-06T01:26:31.418" v="651" actId="122"/>
          <ac:spMkLst>
            <pc:docMk/>
            <pc:sldMk cId="766648648" sldId="2300"/>
            <ac:spMk id="8" creationId="{8DFE4AD4-C88C-47B5-A776-697624301ADB}"/>
          </ac:spMkLst>
        </pc:spChg>
        <pc:spChg chg="mod">
          <ac:chgData name="Bayron Quillay" userId="0b08cc2d-b048-41e2-a83a-291ca51e7f5e" providerId="ADAL" clId="{373299AB-CB17-4FE5-BF6C-2D353F93347B}" dt="2022-04-06T03:39:28.685" v="916" actId="13926"/>
          <ac:spMkLst>
            <pc:docMk/>
            <pc:sldMk cId="766648648" sldId="2300"/>
            <ac:spMk id="9" creationId="{ABE78B6F-BEEB-4E49-A3E5-B9DE907DD094}"/>
          </ac:spMkLst>
        </pc:spChg>
        <pc:spChg chg="mod">
          <ac:chgData name="Bayron Quillay" userId="0b08cc2d-b048-41e2-a83a-291ca51e7f5e" providerId="ADAL" clId="{373299AB-CB17-4FE5-BF6C-2D353F93347B}" dt="2022-04-06T03:39:50.634" v="921" actId="20577"/>
          <ac:spMkLst>
            <pc:docMk/>
            <pc:sldMk cId="766648648" sldId="2300"/>
            <ac:spMk id="10" creationId="{44C83910-C739-489E-9FDB-4B238C62D521}"/>
          </ac:spMkLst>
        </pc:spChg>
        <pc:spChg chg="mod">
          <ac:chgData name="Bayron Quillay" userId="0b08cc2d-b048-41e2-a83a-291ca51e7f5e" providerId="ADAL" clId="{373299AB-CB17-4FE5-BF6C-2D353F93347B}" dt="2022-04-06T03:39:09.201" v="913" actId="20577"/>
          <ac:spMkLst>
            <pc:docMk/>
            <pc:sldMk cId="766648648" sldId="2300"/>
            <ac:spMk id="12" creationId="{34B52D6E-511A-4A68-BB9E-D2CCC40BCD8F}"/>
          </ac:spMkLst>
        </pc:spChg>
        <pc:spChg chg="mod">
          <ac:chgData name="Bayron Quillay" userId="0b08cc2d-b048-41e2-a83a-291ca51e7f5e" providerId="ADAL" clId="{373299AB-CB17-4FE5-BF6C-2D353F93347B}" dt="2022-04-06T03:40:23.280" v="923" actId="20577"/>
          <ac:spMkLst>
            <pc:docMk/>
            <pc:sldMk cId="766648648" sldId="2300"/>
            <ac:spMk id="13" creationId="{849B04FE-62E0-4A2B-A5C1-8CF663DE1E8B}"/>
          </ac:spMkLst>
        </pc:spChg>
        <pc:spChg chg="mod">
          <ac:chgData name="Bayron Quillay" userId="0b08cc2d-b048-41e2-a83a-291ca51e7f5e" providerId="ADAL" clId="{373299AB-CB17-4FE5-BF6C-2D353F93347B}" dt="2022-04-06T03:40:26.247" v="925" actId="20577"/>
          <ac:spMkLst>
            <pc:docMk/>
            <pc:sldMk cId="766648648" sldId="2300"/>
            <ac:spMk id="14" creationId="{54D0003B-B1D6-4533-A277-4375B8F28DB2}"/>
          </ac:spMkLst>
        </pc:spChg>
        <pc:picChg chg="mod">
          <ac:chgData name="Bayron Quillay" userId="0b08cc2d-b048-41e2-a83a-291ca51e7f5e" providerId="ADAL" clId="{373299AB-CB17-4FE5-BF6C-2D353F93347B}" dt="2022-03-28T00:18:37.263" v="493" actId="1076"/>
          <ac:picMkLst>
            <pc:docMk/>
            <pc:sldMk cId="766648648" sldId="2300"/>
            <ac:picMk id="15" creationId="{AA583F62-1125-4D13-BB56-00EAD9D63C5D}"/>
          </ac:picMkLst>
        </pc:picChg>
        <pc:picChg chg="mod">
          <ac:chgData name="Bayron Quillay" userId="0b08cc2d-b048-41e2-a83a-291ca51e7f5e" providerId="ADAL" clId="{373299AB-CB17-4FE5-BF6C-2D353F93347B}" dt="2022-03-28T00:19:16.922" v="495" actId="1076"/>
          <ac:picMkLst>
            <pc:docMk/>
            <pc:sldMk cId="766648648" sldId="2300"/>
            <ac:picMk id="16" creationId="{00000000-0000-0000-0000-000000000000}"/>
          </ac:picMkLst>
        </pc:picChg>
      </pc:sldChg>
      <pc:sldChg chg="addSp delSp modSp mod">
        <pc:chgData name="Bayron Quillay" userId="0b08cc2d-b048-41e2-a83a-291ca51e7f5e" providerId="ADAL" clId="{373299AB-CB17-4FE5-BF6C-2D353F93347B}" dt="2022-04-06T04:42:54.290" v="1173" actId="207"/>
        <pc:sldMkLst>
          <pc:docMk/>
          <pc:sldMk cId="2698255875" sldId="2301"/>
        </pc:sldMkLst>
        <pc:graphicFrameChg chg="del">
          <ac:chgData name="Bayron Quillay" userId="0b08cc2d-b048-41e2-a83a-291ca51e7f5e" providerId="ADAL" clId="{373299AB-CB17-4FE5-BF6C-2D353F93347B}" dt="2022-04-06T04:40:40.050" v="1153" actId="478"/>
          <ac:graphicFrameMkLst>
            <pc:docMk/>
            <pc:sldMk cId="2698255875" sldId="2301"/>
            <ac:graphicFrameMk id="3" creationId="{6CBB6693-DE69-49A9-9DB6-95B10729522E}"/>
          </ac:graphicFrameMkLst>
        </pc:graphicFrameChg>
        <pc:graphicFrameChg chg="add mod modGraphic">
          <ac:chgData name="Bayron Quillay" userId="0b08cc2d-b048-41e2-a83a-291ca51e7f5e" providerId="ADAL" clId="{373299AB-CB17-4FE5-BF6C-2D353F93347B}" dt="2022-04-06T04:42:54.290" v="1173" actId="207"/>
          <ac:graphicFrameMkLst>
            <pc:docMk/>
            <pc:sldMk cId="2698255875" sldId="2301"/>
            <ac:graphicFrameMk id="4" creationId="{59278B9A-E386-4BFA-B34D-EA417F131FAF}"/>
          </ac:graphicFrameMkLst>
        </pc:graphicFrameChg>
      </pc:sldChg>
      <pc:sldChg chg="addSp delSp modSp mod">
        <pc:chgData name="Bayron Quillay" userId="0b08cc2d-b048-41e2-a83a-291ca51e7f5e" providerId="ADAL" clId="{373299AB-CB17-4FE5-BF6C-2D353F93347B}" dt="2022-04-06T04:43:14.591" v="1175" actId="2084"/>
        <pc:sldMkLst>
          <pc:docMk/>
          <pc:sldMk cId="2244102535" sldId="2305"/>
        </pc:sldMkLst>
        <pc:graphicFrameChg chg="del">
          <ac:chgData name="Bayron Quillay" userId="0b08cc2d-b048-41e2-a83a-291ca51e7f5e" providerId="ADAL" clId="{373299AB-CB17-4FE5-BF6C-2D353F93347B}" dt="2022-04-06T04:40:34.218" v="1151" actId="478"/>
          <ac:graphicFrameMkLst>
            <pc:docMk/>
            <pc:sldMk cId="2244102535" sldId="2305"/>
            <ac:graphicFrameMk id="3" creationId="{6CBB6693-DE69-49A9-9DB6-95B10729522E}"/>
          </ac:graphicFrameMkLst>
        </pc:graphicFrameChg>
        <pc:graphicFrameChg chg="add mod modGraphic">
          <ac:chgData name="Bayron Quillay" userId="0b08cc2d-b048-41e2-a83a-291ca51e7f5e" providerId="ADAL" clId="{373299AB-CB17-4FE5-BF6C-2D353F93347B}" dt="2022-04-06T04:43:14.591" v="1175" actId="2084"/>
          <ac:graphicFrameMkLst>
            <pc:docMk/>
            <pc:sldMk cId="2244102535" sldId="2305"/>
            <ac:graphicFrameMk id="4" creationId="{902C4AEA-8D95-4877-B5CE-0F42FB10A17C}"/>
          </ac:graphicFrameMkLst>
        </pc:graphicFrameChg>
      </pc:sldChg>
      <pc:sldChg chg="modSp mod">
        <pc:chgData name="Bayron Quillay" userId="0b08cc2d-b048-41e2-a83a-291ca51e7f5e" providerId="ADAL" clId="{373299AB-CB17-4FE5-BF6C-2D353F93347B}" dt="2022-04-06T04:43:29.770" v="1177" actId="207"/>
        <pc:sldMkLst>
          <pc:docMk/>
          <pc:sldMk cId="2646823147" sldId="2306"/>
        </pc:sldMkLst>
        <pc:graphicFrameChg chg="mod modGraphic">
          <ac:chgData name="Bayron Quillay" userId="0b08cc2d-b048-41e2-a83a-291ca51e7f5e" providerId="ADAL" clId="{373299AB-CB17-4FE5-BF6C-2D353F93347B}" dt="2022-04-06T04:43:29.770" v="1177" actId="207"/>
          <ac:graphicFrameMkLst>
            <pc:docMk/>
            <pc:sldMk cId="2646823147" sldId="2306"/>
            <ac:graphicFrameMk id="3" creationId="{6CBB6693-DE69-49A9-9DB6-95B10729522E}"/>
          </ac:graphicFrameMkLst>
        </pc:graphicFrameChg>
      </pc:sldChg>
      <pc:sldChg chg="addSp delSp modSp mod">
        <pc:chgData name="Bayron Quillay" userId="0b08cc2d-b048-41e2-a83a-291ca51e7f5e" providerId="ADAL" clId="{373299AB-CB17-4FE5-BF6C-2D353F93347B}" dt="2022-04-06T04:43:50.968" v="1181" actId="2084"/>
        <pc:sldMkLst>
          <pc:docMk/>
          <pc:sldMk cId="3755661011" sldId="2307"/>
        </pc:sldMkLst>
        <pc:graphicFrameChg chg="del">
          <ac:chgData name="Bayron Quillay" userId="0b08cc2d-b048-41e2-a83a-291ca51e7f5e" providerId="ADAL" clId="{373299AB-CB17-4FE5-BF6C-2D353F93347B}" dt="2022-04-06T04:40:25.614" v="1149" actId="478"/>
          <ac:graphicFrameMkLst>
            <pc:docMk/>
            <pc:sldMk cId="3755661011" sldId="2307"/>
            <ac:graphicFrameMk id="3" creationId="{6CBB6693-DE69-49A9-9DB6-95B10729522E}"/>
          </ac:graphicFrameMkLst>
        </pc:graphicFrameChg>
        <pc:graphicFrameChg chg="add del mod">
          <ac:chgData name="Bayron Quillay" userId="0b08cc2d-b048-41e2-a83a-291ca51e7f5e" providerId="ADAL" clId="{373299AB-CB17-4FE5-BF6C-2D353F93347B}" dt="2022-04-06T04:40:23.119" v="1148"/>
          <ac:graphicFrameMkLst>
            <pc:docMk/>
            <pc:sldMk cId="3755661011" sldId="2307"/>
            <ac:graphicFrameMk id="4" creationId="{44089F82-A63B-45EE-851A-86BE8518709C}"/>
          </ac:graphicFrameMkLst>
        </pc:graphicFrameChg>
        <pc:graphicFrameChg chg="add mod modGraphic">
          <ac:chgData name="Bayron Quillay" userId="0b08cc2d-b048-41e2-a83a-291ca51e7f5e" providerId="ADAL" clId="{373299AB-CB17-4FE5-BF6C-2D353F93347B}" dt="2022-04-06T04:43:50.968" v="1181" actId="2084"/>
          <ac:graphicFrameMkLst>
            <pc:docMk/>
            <pc:sldMk cId="3755661011" sldId="2307"/>
            <ac:graphicFrameMk id="5" creationId="{2A5CF2A5-02FE-49AD-A9D6-A147FD88AADE}"/>
          </ac:graphicFrameMkLst>
        </pc:graphicFrameChg>
      </pc:sldChg>
      <pc:sldChg chg="modSp mod">
        <pc:chgData name="Bayron Quillay" userId="0b08cc2d-b048-41e2-a83a-291ca51e7f5e" providerId="ADAL" clId="{373299AB-CB17-4FE5-BF6C-2D353F93347B}" dt="2022-03-28T00:45:31.343" v="619"/>
        <pc:sldMkLst>
          <pc:docMk/>
          <pc:sldMk cId="1568563768" sldId="2309"/>
        </pc:sldMkLst>
        <pc:spChg chg="mod">
          <ac:chgData name="Bayron Quillay" userId="0b08cc2d-b048-41e2-a83a-291ca51e7f5e" providerId="ADAL" clId="{373299AB-CB17-4FE5-BF6C-2D353F93347B}" dt="2022-03-28T00:45:31.343" v="619"/>
          <ac:spMkLst>
            <pc:docMk/>
            <pc:sldMk cId="1568563768" sldId="2309"/>
            <ac:spMk id="4" creationId="{7D2BE756-6DE5-42A1-83C8-2A3672CE39B7}"/>
          </ac:spMkLst>
        </pc:spChg>
        <pc:spChg chg="mod">
          <ac:chgData name="Bayron Quillay" userId="0b08cc2d-b048-41e2-a83a-291ca51e7f5e" providerId="ADAL" clId="{373299AB-CB17-4FE5-BF6C-2D353F93347B}" dt="2022-03-28T00:06:34.164" v="485" actId="20577"/>
          <ac:spMkLst>
            <pc:docMk/>
            <pc:sldMk cId="1568563768" sldId="2309"/>
            <ac:spMk id="50" creationId="{50B9BF18-1F34-E644-BC4B-22481BD91211}"/>
          </ac:spMkLst>
        </pc:spChg>
      </pc:sldChg>
      <pc:sldChg chg="del">
        <pc:chgData name="Bayron Quillay" userId="0b08cc2d-b048-41e2-a83a-291ca51e7f5e" providerId="ADAL" clId="{373299AB-CB17-4FE5-BF6C-2D353F93347B}" dt="2022-03-28T00:40:51.858" v="617" actId="47"/>
        <pc:sldMkLst>
          <pc:docMk/>
          <pc:sldMk cId="699004581" sldId="2310"/>
        </pc:sldMkLst>
      </pc:sldChg>
      <pc:sldChg chg="addSp delSp modSp mod">
        <pc:chgData name="Bayron Quillay" userId="0b08cc2d-b048-41e2-a83a-291ca51e7f5e" providerId="ADAL" clId="{373299AB-CB17-4FE5-BF6C-2D353F93347B}" dt="2022-04-06T04:54:09.168" v="1255" actId="20577"/>
        <pc:sldMkLst>
          <pc:docMk/>
          <pc:sldMk cId="3524575018" sldId="2311"/>
        </pc:sldMkLst>
        <pc:spChg chg="mod">
          <ac:chgData name="Bayron Quillay" userId="0b08cc2d-b048-41e2-a83a-291ca51e7f5e" providerId="ADAL" clId="{373299AB-CB17-4FE5-BF6C-2D353F93347B}" dt="2022-04-06T04:54:09.168" v="1255" actId="20577"/>
          <ac:spMkLst>
            <pc:docMk/>
            <pc:sldMk cId="3524575018" sldId="2311"/>
            <ac:spMk id="2" creationId="{BD4DAA37-32B1-46A8-AD18-9A9CAE34F42E}"/>
          </ac:spMkLst>
        </pc:spChg>
        <pc:spChg chg="mod">
          <ac:chgData name="Bayron Quillay" userId="0b08cc2d-b048-41e2-a83a-291ca51e7f5e" providerId="ADAL" clId="{373299AB-CB17-4FE5-BF6C-2D353F93347B}" dt="2022-04-06T04:14:18.712" v="1086" actId="20577"/>
          <ac:spMkLst>
            <pc:docMk/>
            <pc:sldMk cId="3524575018" sldId="2311"/>
            <ac:spMk id="20" creationId="{8624F455-842B-49CC-9034-603192533E0B}"/>
          </ac:spMkLst>
        </pc:spChg>
        <pc:spChg chg="del mod">
          <ac:chgData name="Bayron Quillay" userId="0b08cc2d-b048-41e2-a83a-291ca51e7f5e" providerId="ADAL" clId="{373299AB-CB17-4FE5-BF6C-2D353F93347B}" dt="2022-04-06T04:03:08.338" v="927" actId="478"/>
          <ac:spMkLst>
            <pc:docMk/>
            <pc:sldMk cId="3524575018" sldId="2311"/>
            <ac:spMk id="23" creationId="{4927F97B-D2E7-4700-BDBC-E066E760284C}"/>
          </ac:spMkLst>
        </pc:spChg>
        <pc:spChg chg="del">
          <ac:chgData name="Bayron Quillay" userId="0b08cc2d-b048-41e2-a83a-291ca51e7f5e" providerId="ADAL" clId="{373299AB-CB17-4FE5-BF6C-2D353F93347B}" dt="2022-04-06T04:03:03.417" v="926" actId="478"/>
          <ac:spMkLst>
            <pc:docMk/>
            <pc:sldMk cId="3524575018" sldId="2311"/>
            <ac:spMk id="27" creationId="{BE83FDC8-2E98-4C05-87C4-61D5967214DC}"/>
          </ac:spMkLst>
        </pc:spChg>
        <pc:spChg chg="mod">
          <ac:chgData name="Bayron Quillay" userId="0b08cc2d-b048-41e2-a83a-291ca51e7f5e" providerId="ADAL" clId="{373299AB-CB17-4FE5-BF6C-2D353F93347B}" dt="2022-04-06T04:14:13.255" v="1084" actId="20577"/>
          <ac:spMkLst>
            <pc:docMk/>
            <pc:sldMk cId="3524575018" sldId="2311"/>
            <ac:spMk id="29" creationId="{85901183-A6A2-4934-ABE5-356CD8C6B462}"/>
          </ac:spMkLst>
        </pc:spChg>
        <pc:spChg chg="mod">
          <ac:chgData name="Bayron Quillay" userId="0b08cc2d-b048-41e2-a83a-291ca51e7f5e" providerId="ADAL" clId="{373299AB-CB17-4FE5-BF6C-2D353F93347B}" dt="2022-04-06T04:14:26.421" v="1088" actId="20577"/>
          <ac:spMkLst>
            <pc:docMk/>
            <pc:sldMk cId="3524575018" sldId="2311"/>
            <ac:spMk id="38" creationId="{96700650-B351-45E0-88A7-929B323C99E8}"/>
          </ac:spMkLst>
        </pc:spChg>
        <pc:grpChg chg="mod">
          <ac:chgData name="Bayron Quillay" userId="0b08cc2d-b048-41e2-a83a-291ca51e7f5e" providerId="ADAL" clId="{373299AB-CB17-4FE5-BF6C-2D353F93347B}" dt="2022-04-06T04:13:28.623" v="1076" actId="14100"/>
          <ac:grpSpMkLst>
            <pc:docMk/>
            <pc:sldMk cId="3524575018" sldId="2311"/>
            <ac:grpSpMk id="17" creationId="{9514B80B-AD68-43BA-8836-1967AA350E1C}"/>
          </ac:grpSpMkLst>
        </pc:grpChg>
        <pc:grpChg chg="mod">
          <ac:chgData name="Bayron Quillay" userId="0b08cc2d-b048-41e2-a83a-291ca51e7f5e" providerId="ADAL" clId="{373299AB-CB17-4FE5-BF6C-2D353F93347B}" dt="2022-04-06T04:13:31.219" v="1077" actId="14100"/>
          <ac:grpSpMkLst>
            <pc:docMk/>
            <pc:sldMk cId="3524575018" sldId="2311"/>
            <ac:grpSpMk id="26" creationId="{AF45752D-A2FB-4B9F-B31E-EAA67CA51416}"/>
          </ac:grpSpMkLst>
        </pc:grpChg>
        <pc:grpChg chg="mod">
          <ac:chgData name="Bayron Quillay" userId="0b08cc2d-b048-41e2-a83a-291ca51e7f5e" providerId="ADAL" clId="{373299AB-CB17-4FE5-BF6C-2D353F93347B}" dt="2022-04-06T04:13:34.165" v="1078" actId="14100"/>
          <ac:grpSpMkLst>
            <pc:docMk/>
            <pc:sldMk cId="3524575018" sldId="2311"/>
            <ac:grpSpMk id="36" creationId="{94CBA10E-8CA0-4804-8514-E681EB0B28E9}"/>
          </ac:grpSpMkLst>
        </pc:grpChg>
        <pc:graphicFrameChg chg="mod modGraphic">
          <ac:chgData name="Bayron Quillay" userId="0b08cc2d-b048-41e2-a83a-291ca51e7f5e" providerId="ADAL" clId="{373299AB-CB17-4FE5-BF6C-2D353F93347B}" dt="2022-04-06T04:12:14.358" v="1057" actId="1035"/>
          <ac:graphicFrameMkLst>
            <pc:docMk/>
            <pc:sldMk cId="3524575018" sldId="2311"/>
            <ac:graphicFrameMk id="6" creationId="{7FF92E71-920E-4736-8E02-F04B046D3057}"/>
          </ac:graphicFrameMkLst>
        </pc:graphicFrameChg>
        <pc:graphicFrameChg chg="mod modGraphic">
          <ac:chgData name="Bayron Quillay" userId="0b08cc2d-b048-41e2-a83a-291ca51e7f5e" providerId="ADAL" clId="{373299AB-CB17-4FE5-BF6C-2D353F93347B}" dt="2022-04-06T04:12:58.144" v="1073" actId="14100"/>
          <ac:graphicFrameMkLst>
            <pc:docMk/>
            <pc:sldMk cId="3524575018" sldId="2311"/>
            <ac:graphicFrameMk id="31" creationId="{123D0689-BE48-45E3-9A46-17C973EB3958}"/>
          </ac:graphicFrameMkLst>
        </pc:graphicFrameChg>
        <pc:graphicFrameChg chg="mod modGraphic">
          <ac:chgData name="Bayron Quillay" userId="0b08cc2d-b048-41e2-a83a-291ca51e7f5e" providerId="ADAL" clId="{373299AB-CB17-4FE5-BF6C-2D353F93347B}" dt="2022-04-06T04:13:03.185" v="1074" actId="121"/>
          <ac:graphicFrameMkLst>
            <pc:docMk/>
            <pc:sldMk cId="3524575018" sldId="2311"/>
            <ac:graphicFrameMk id="32" creationId="{95311E04-77D6-4E9B-B940-FBE5E14785CF}"/>
          </ac:graphicFrameMkLst>
        </pc:graphicFrameChg>
        <pc:picChg chg="add mod">
          <ac:chgData name="Bayron Quillay" userId="0b08cc2d-b048-41e2-a83a-291ca51e7f5e" providerId="ADAL" clId="{373299AB-CB17-4FE5-BF6C-2D353F93347B}" dt="2022-04-06T04:10:29.172" v="1043" actId="14100"/>
          <ac:picMkLst>
            <pc:docMk/>
            <pc:sldMk cId="3524575018" sldId="2311"/>
            <ac:picMk id="1026" creationId="{D593A989-9620-4743-AB78-F3C3D3A7742F}"/>
          </ac:picMkLst>
        </pc:picChg>
        <pc:picChg chg="del">
          <ac:chgData name="Bayron Quillay" userId="0b08cc2d-b048-41e2-a83a-291ca51e7f5e" providerId="ADAL" clId="{373299AB-CB17-4FE5-BF6C-2D353F93347B}" dt="2022-04-06T04:10:07.832" v="1035" actId="478"/>
          <ac:picMkLst>
            <pc:docMk/>
            <pc:sldMk cId="3524575018" sldId="2311"/>
            <ac:picMk id="5122" creationId="{B21F2FA1-CEB5-4BAC-9CD9-E3D9F1892F4E}"/>
          </ac:picMkLst>
        </pc:picChg>
      </pc:sldChg>
      <pc:sldChg chg="modSp mod">
        <pc:chgData name="Bayron Quillay" userId="0b08cc2d-b048-41e2-a83a-291ca51e7f5e" providerId="ADAL" clId="{373299AB-CB17-4FE5-BF6C-2D353F93347B}" dt="2022-04-06T04:45:49.979" v="1195" actId="20577"/>
        <pc:sldMkLst>
          <pc:docMk/>
          <pc:sldMk cId="670677099" sldId="2313"/>
        </pc:sldMkLst>
        <pc:spChg chg="mod">
          <ac:chgData name="Bayron Quillay" userId="0b08cc2d-b048-41e2-a83a-291ca51e7f5e" providerId="ADAL" clId="{373299AB-CB17-4FE5-BF6C-2D353F93347B}" dt="2022-04-06T04:45:49.979" v="1195" actId="20577"/>
          <ac:spMkLst>
            <pc:docMk/>
            <pc:sldMk cId="670677099" sldId="2313"/>
            <ac:spMk id="2" creationId="{98DB571C-B58B-4A1A-8AA4-842EDFF38598}"/>
          </ac:spMkLst>
        </pc:spChg>
      </pc:sldChg>
      <pc:sldChg chg="addSp modSp mod">
        <pc:chgData name="Bayron Quillay" userId="0b08cc2d-b048-41e2-a83a-291ca51e7f5e" providerId="ADAL" clId="{373299AB-CB17-4FE5-BF6C-2D353F93347B}" dt="2022-04-06T01:39:57.032" v="736" actId="1076"/>
        <pc:sldMkLst>
          <pc:docMk/>
          <pc:sldMk cId="187670388" sldId="2314"/>
        </pc:sldMkLst>
        <pc:spChg chg="add mod">
          <ac:chgData name="Bayron Quillay" userId="0b08cc2d-b048-41e2-a83a-291ca51e7f5e" providerId="ADAL" clId="{373299AB-CB17-4FE5-BF6C-2D353F93347B}" dt="2022-04-06T01:39:39.631" v="734" actId="122"/>
          <ac:spMkLst>
            <pc:docMk/>
            <pc:sldMk cId="187670388" sldId="2314"/>
            <ac:spMk id="38" creationId="{B2A7B476-B113-4EFD-B6A1-6159465F3FC5}"/>
          </ac:spMkLst>
        </pc:spChg>
        <pc:spChg chg="add mod">
          <ac:chgData name="Bayron Quillay" userId="0b08cc2d-b048-41e2-a83a-291ca51e7f5e" providerId="ADAL" clId="{373299AB-CB17-4FE5-BF6C-2D353F93347B}" dt="2022-04-06T01:39:57.032" v="736" actId="1076"/>
          <ac:spMkLst>
            <pc:docMk/>
            <pc:sldMk cId="187670388" sldId="2314"/>
            <ac:spMk id="39" creationId="{C032A4BC-1241-42FB-BF21-984B3993E615}"/>
          </ac:spMkLst>
        </pc:spChg>
        <pc:grpChg chg="mod">
          <ac:chgData name="Bayron Quillay" userId="0b08cc2d-b048-41e2-a83a-291ca51e7f5e" providerId="ADAL" clId="{373299AB-CB17-4FE5-BF6C-2D353F93347B}" dt="2022-04-01T18:31:24.450" v="622" actId="1076"/>
          <ac:grpSpMkLst>
            <pc:docMk/>
            <pc:sldMk cId="187670388" sldId="2314"/>
            <ac:grpSpMk id="17" creationId="{5FA9CF23-F234-44D9-AD78-3D2E84AD018D}"/>
          </ac:grpSpMkLst>
        </pc:grpChg>
        <pc:picChg chg="add mod">
          <ac:chgData name="Bayron Quillay" userId="0b08cc2d-b048-41e2-a83a-291ca51e7f5e" providerId="ADAL" clId="{373299AB-CB17-4FE5-BF6C-2D353F93347B}" dt="2022-03-20T23:56:35.517" v="3" actId="1076"/>
          <ac:picMkLst>
            <pc:docMk/>
            <pc:sldMk cId="187670388" sldId="2314"/>
            <ac:picMk id="4098" creationId="{37CE244E-C7FC-416B-BD45-E941E252C915}"/>
          </ac:picMkLst>
        </pc:picChg>
      </pc:sldChg>
      <pc:sldChg chg="addSp modSp mod">
        <pc:chgData name="Bayron Quillay" userId="0b08cc2d-b048-41e2-a83a-291ca51e7f5e" providerId="ADAL" clId="{373299AB-CB17-4FE5-BF6C-2D353F93347B}" dt="2022-04-06T01:37:23.508" v="704" actId="255"/>
        <pc:sldMkLst>
          <pc:docMk/>
          <pc:sldMk cId="3222638723" sldId="2315"/>
        </pc:sldMkLst>
        <pc:spChg chg="mod">
          <ac:chgData name="Bayron Quillay" userId="0b08cc2d-b048-41e2-a83a-291ca51e7f5e" providerId="ADAL" clId="{373299AB-CB17-4FE5-BF6C-2D353F93347B}" dt="2022-04-06T01:35:48.594" v="694" actId="255"/>
          <ac:spMkLst>
            <pc:docMk/>
            <pc:sldMk cId="3222638723" sldId="2315"/>
            <ac:spMk id="3" creationId="{FF6AA262-DBAA-44BE-99A3-EAF42F027FE2}"/>
          </ac:spMkLst>
        </pc:spChg>
        <pc:spChg chg="mod">
          <ac:chgData name="Bayron Quillay" userId="0b08cc2d-b048-41e2-a83a-291ca51e7f5e" providerId="ADAL" clId="{373299AB-CB17-4FE5-BF6C-2D353F93347B}" dt="2022-04-06T01:29:00.141" v="658" actId="164"/>
          <ac:spMkLst>
            <pc:docMk/>
            <pc:sldMk cId="3222638723" sldId="2315"/>
            <ac:spMk id="5" creationId="{EDB60056-9C36-4AD5-BA31-D6765F7B3926}"/>
          </ac:spMkLst>
        </pc:spChg>
        <pc:spChg chg="mod">
          <ac:chgData name="Bayron Quillay" userId="0b08cc2d-b048-41e2-a83a-291ca51e7f5e" providerId="ADAL" clId="{373299AB-CB17-4FE5-BF6C-2D353F93347B}" dt="2022-04-06T01:32:04.743" v="673" actId="1076"/>
          <ac:spMkLst>
            <pc:docMk/>
            <pc:sldMk cId="3222638723" sldId="2315"/>
            <ac:spMk id="9" creationId="{AD84BC37-002C-4C7B-B769-FA19884ED057}"/>
          </ac:spMkLst>
        </pc:spChg>
        <pc:spChg chg="mod">
          <ac:chgData name="Bayron Quillay" userId="0b08cc2d-b048-41e2-a83a-291ca51e7f5e" providerId="ADAL" clId="{373299AB-CB17-4FE5-BF6C-2D353F93347B}" dt="2022-04-06T01:37:03.637" v="701" actId="1076"/>
          <ac:spMkLst>
            <pc:docMk/>
            <pc:sldMk cId="3222638723" sldId="2315"/>
            <ac:spMk id="10" creationId="{3B567879-4C0F-4060-A1C6-BE4E59A735B6}"/>
          </ac:spMkLst>
        </pc:spChg>
        <pc:spChg chg="mod">
          <ac:chgData name="Bayron Quillay" userId="0b08cc2d-b048-41e2-a83a-291ca51e7f5e" providerId="ADAL" clId="{373299AB-CB17-4FE5-BF6C-2D353F93347B}" dt="2022-04-06T01:32:41.338" v="675" actId="164"/>
          <ac:spMkLst>
            <pc:docMk/>
            <pc:sldMk cId="3222638723" sldId="2315"/>
            <ac:spMk id="18" creationId="{72931383-F306-4C7A-A118-063A20B81F44}"/>
          </ac:spMkLst>
        </pc:spChg>
        <pc:spChg chg="mod">
          <ac:chgData name="Bayron Quillay" userId="0b08cc2d-b048-41e2-a83a-291ca51e7f5e" providerId="ADAL" clId="{373299AB-CB17-4FE5-BF6C-2D353F93347B}" dt="2022-04-06T01:32:41.338" v="675" actId="164"/>
          <ac:spMkLst>
            <pc:docMk/>
            <pc:sldMk cId="3222638723" sldId="2315"/>
            <ac:spMk id="19" creationId="{6B75D14F-ED99-4358-ACA4-9F579B845341}"/>
          </ac:spMkLst>
        </pc:spChg>
        <pc:spChg chg="mod">
          <ac:chgData name="Bayron Quillay" userId="0b08cc2d-b048-41e2-a83a-291ca51e7f5e" providerId="ADAL" clId="{373299AB-CB17-4FE5-BF6C-2D353F93347B}" dt="2022-04-06T01:32:41.338" v="675" actId="164"/>
          <ac:spMkLst>
            <pc:docMk/>
            <pc:sldMk cId="3222638723" sldId="2315"/>
            <ac:spMk id="20" creationId="{6CAA957B-9BF5-4E00-8CCF-91F1BCA2E718}"/>
          </ac:spMkLst>
        </pc:spChg>
        <pc:spChg chg="mod">
          <ac:chgData name="Bayron Quillay" userId="0b08cc2d-b048-41e2-a83a-291ca51e7f5e" providerId="ADAL" clId="{373299AB-CB17-4FE5-BF6C-2D353F93347B}" dt="2022-04-06T01:36:43.928" v="699" actId="255"/>
          <ac:spMkLst>
            <pc:docMk/>
            <pc:sldMk cId="3222638723" sldId="2315"/>
            <ac:spMk id="22" creationId="{4648F10D-C745-4B70-9673-E0573025DE41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24" creationId="{DF06A048-B13A-4BB6-A9AD-A8206F0B9C07}"/>
          </ac:spMkLst>
        </pc:spChg>
        <pc:spChg chg="mod">
          <ac:chgData name="Bayron Quillay" userId="0b08cc2d-b048-41e2-a83a-291ca51e7f5e" providerId="ADAL" clId="{373299AB-CB17-4FE5-BF6C-2D353F93347B}" dt="2022-04-06T01:31:16.276" v="670" actId="14100"/>
          <ac:spMkLst>
            <pc:docMk/>
            <pc:sldMk cId="3222638723" sldId="2315"/>
            <ac:spMk id="27" creationId="{67812D76-4634-4F0D-B75F-C2C8BBFF70E3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56" creationId="{08C75017-E8E6-476E-9AF9-E60F90718170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61" creationId="{58744675-95D9-4F59-ABD6-B8AD1DE2E668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62" creationId="{DB081652-54B3-4FDC-8C67-7A02AA3988DC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68" creationId="{F0FE3069-4A74-4355-8632-689B6BE01CF0}"/>
          </ac:spMkLst>
        </pc:spChg>
        <pc:spChg chg="mod">
          <ac:chgData name="Bayron Quillay" userId="0b08cc2d-b048-41e2-a83a-291ca51e7f5e" providerId="ADAL" clId="{373299AB-CB17-4FE5-BF6C-2D353F93347B}" dt="2022-04-06T01:30:54.930" v="667" actId="164"/>
          <ac:spMkLst>
            <pc:docMk/>
            <pc:sldMk cId="3222638723" sldId="2315"/>
            <ac:spMk id="69" creationId="{B5892FA7-02DB-44C2-BEA5-2E106E515504}"/>
          </ac:spMkLst>
        </pc:spChg>
        <pc:spChg chg="mod">
          <ac:chgData name="Bayron Quillay" userId="0b08cc2d-b048-41e2-a83a-291ca51e7f5e" providerId="ADAL" clId="{373299AB-CB17-4FE5-BF6C-2D353F93347B}" dt="2022-04-06T01:34:02.200" v="679" actId="403"/>
          <ac:spMkLst>
            <pc:docMk/>
            <pc:sldMk cId="3222638723" sldId="2315"/>
            <ac:spMk id="71" creationId="{FD8AE598-109C-48DF-A6E6-A7917C1E5CA9}"/>
          </ac:spMkLst>
        </pc:spChg>
        <pc:spChg chg="mod">
          <ac:chgData name="Bayron Quillay" userId="0b08cc2d-b048-41e2-a83a-291ca51e7f5e" providerId="ADAL" clId="{373299AB-CB17-4FE5-BF6C-2D353F93347B}" dt="2022-04-06T01:34:08.276" v="680" actId="255"/>
          <ac:spMkLst>
            <pc:docMk/>
            <pc:sldMk cId="3222638723" sldId="2315"/>
            <ac:spMk id="72" creationId="{F04CB839-B476-4654-90AF-FBFDD46D1186}"/>
          </ac:spMkLst>
        </pc:spChg>
        <pc:spChg chg="mod">
          <ac:chgData name="Bayron Quillay" userId="0b08cc2d-b048-41e2-a83a-291ca51e7f5e" providerId="ADAL" clId="{373299AB-CB17-4FE5-BF6C-2D353F93347B}" dt="2022-04-06T01:34:12.170" v="681" actId="255"/>
          <ac:spMkLst>
            <pc:docMk/>
            <pc:sldMk cId="3222638723" sldId="2315"/>
            <ac:spMk id="73" creationId="{3A13FD61-44F5-4682-9CCD-026F576810F4}"/>
          </ac:spMkLst>
        </pc:spChg>
        <pc:spChg chg="mod">
          <ac:chgData name="Bayron Quillay" userId="0b08cc2d-b048-41e2-a83a-291ca51e7f5e" providerId="ADAL" clId="{373299AB-CB17-4FE5-BF6C-2D353F93347B}" dt="2022-04-06T01:37:15.548" v="702" actId="255"/>
          <ac:spMkLst>
            <pc:docMk/>
            <pc:sldMk cId="3222638723" sldId="2315"/>
            <ac:spMk id="91" creationId="{E92CB2EC-1CF3-4666-BC3F-F9B1CE6681DA}"/>
          </ac:spMkLst>
        </pc:spChg>
        <pc:spChg chg="mod">
          <ac:chgData name="Bayron Quillay" userId="0b08cc2d-b048-41e2-a83a-291ca51e7f5e" providerId="ADAL" clId="{373299AB-CB17-4FE5-BF6C-2D353F93347B}" dt="2022-04-06T01:37:19.662" v="703" actId="255"/>
          <ac:spMkLst>
            <pc:docMk/>
            <pc:sldMk cId="3222638723" sldId="2315"/>
            <ac:spMk id="92" creationId="{31140EE4-7EC4-4ECD-BE11-1D541C0B4337}"/>
          </ac:spMkLst>
        </pc:spChg>
        <pc:spChg chg="mod">
          <ac:chgData name="Bayron Quillay" userId="0b08cc2d-b048-41e2-a83a-291ca51e7f5e" providerId="ADAL" clId="{373299AB-CB17-4FE5-BF6C-2D353F93347B}" dt="2022-04-06T01:37:23.508" v="704" actId="255"/>
          <ac:spMkLst>
            <pc:docMk/>
            <pc:sldMk cId="3222638723" sldId="2315"/>
            <ac:spMk id="93" creationId="{CB3E2895-4A56-46C4-872A-3682FB6C601D}"/>
          </ac:spMkLst>
        </pc:spChg>
        <pc:grpChg chg="add mod">
          <ac:chgData name="Bayron Quillay" userId="0b08cc2d-b048-41e2-a83a-291ca51e7f5e" providerId="ADAL" clId="{373299AB-CB17-4FE5-BF6C-2D353F93347B}" dt="2022-04-06T01:31:16.276" v="670" actId="14100"/>
          <ac:grpSpMkLst>
            <pc:docMk/>
            <pc:sldMk cId="3222638723" sldId="2315"/>
            <ac:grpSpMk id="2" creationId="{0E159D48-5F3A-40DD-BAFC-723B1F24ED36}"/>
          </ac:grpSpMkLst>
        </pc:grpChg>
        <pc:grpChg chg="add mod">
          <ac:chgData name="Bayron Quillay" userId="0b08cc2d-b048-41e2-a83a-291ca51e7f5e" providerId="ADAL" clId="{373299AB-CB17-4FE5-BF6C-2D353F93347B}" dt="2022-04-06T01:36:34.359" v="698" actId="14100"/>
          <ac:grpSpMkLst>
            <pc:docMk/>
            <pc:sldMk cId="3222638723" sldId="2315"/>
            <ac:grpSpMk id="4" creationId="{CCF1BED0-3EC1-48D8-A05F-23823A6681A3}"/>
          </ac:grpSpMkLst>
        </pc:grpChg>
        <pc:grpChg chg="add mod">
          <ac:chgData name="Bayron Quillay" userId="0b08cc2d-b048-41e2-a83a-291ca51e7f5e" providerId="ADAL" clId="{373299AB-CB17-4FE5-BF6C-2D353F93347B}" dt="2022-04-06T01:36:21.633" v="697" actId="14100"/>
          <ac:grpSpMkLst>
            <pc:docMk/>
            <pc:sldMk cId="3222638723" sldId="2315"/>
            <ac:grpSpMk id="6" creationId="{D42CCA1C-9F1D-4735-B4F8-3DDC9702EE09}"/>
          </ac:grpSpMkLst>
        </pc:grpChg>
        <pc:grpChg chg="mod">
          <ac:chgData name="Bayron Quillay" userId="0b08cc2d-b048-41e2-a83a-291ca51e7f5e" providerId="ADAL" clId="{373299AB-CB17-4FE5-BF6C-2D353F93347B}" dt="2022-04-06T01:30:54.930" v="667" actId="164"/>
          <ac:grpSpMkLst>
            <pc:docMk/>
            <pc:sldMk cId="3222638723" sldId="2315"/>
            <ac:grpSpMk id="7" creationId="{FCB70AFD-38B0-4E28-9737-61ABE06BEEB0}"/>
          </ac:grpSpMkLst>
        </pc:grpChg>
        <pc:grpChg chg="add mod">
          <ac:chgData name="Bayron Quillay" userId="0b08cc2d-b048-41e2-a83a-291ca51e7f5e" providerId="ADAL" clId="{373299AB-CB17-4FE5-BF6C-2D353F93347B}" dt="2022-04-06T01:31:12.364" v="669" actId="14100"/>
          <ac:grpSpMkLst>
            <pc:docMk/>
            <pc:sldMk cId="3222638723" sldId="2315"/>
            <ac:grpSpMk id="12" creationId="{81A846CC-8709-45AC-9FB4-0219AECB3D33}"/>
          </ac:grpSpMkLst>
        </pc:grpChg>
        <pc:grpChg chg="add mod">
          <ac:chgData name="Bayron Quillay" userId="0b08cc2d-b048-41e2-a83a-291ca51e7f5e" providerId="ADAL" clId="{373299AB-CB17-4FE5-BF6C-2D353F93347B}" dt="2022-04-06T01:32:41.338" v="675" actId="164"/>
          <ac:grpSpMkLst>
            <pc:docMk/>
            <pc:sldMk cId="3222638723" sldId="2315"/>
            <ac:grpSpMk id="13" creationId="{5E1F9BED-970B-40DA-8D1F-2388DEDF2443}"/>
          </ac:grpSpMkLst>
        </pc:grpChg>
        <pc:grpChg chg="mod">
          <ac:chgData name="Bayron Quillay" userId="0b08cc2d-b048-41e2-a83a-291ca51e7f5e" providerId="ADAL" clId="{373299AB-CB17-4FE5-BF6C-2D353F93347B}" dt="2022-04-06T01:32:41.338" v="675" actId="164"/>
          <ac:grpSpMkLst>
            <pc:docMk/>
            <pc:sldMk cId="3222638723" sldId="2315"/>
            <ac:grpSpMk id="17" creationId="{11670324-BE60-4079-89AE-8FB4EF617E39}"/>
          </ac:grpSpMkLst>
        </pc:grpChg>
        <pc:grpChg chg="mod">
          <ac:chgData name="Bayron Quillay" userId="0b08cc2d-b048-41e2-a83a-291ca51e7f5e" providerId="ADAL" clId="{373299AB-CB17-4FE5-BF6C-2D353F93347B}" dt="2022-04-06T01:31:16.276" v="670" actId="14100"/>
          <ac:grpSpMkLst>
            <pc:docMk/>
            <pc:sldMk cId="3222638723" sldId="2315"/>
            <ac:grpSpMk id="21" creationId="{F609B7AA-D31B-4C02-86DC-72BEEFD92317}"/>
          </ac:grpSpMkLst>
        </pc:grpChg>
        <pc:grpChg chg="mod">
          <ac:chgData name="Bayron Quillay" userId="0b08cc2d-b048-41e2-a83a-291ca51e7f5e" providerId="ADAL" clId="{373299AB-CB17-4FE5-BF6C-2D353F93347B}" dt="2022-04-06T01:29:00.141" v="658" actId="164"/>
          <ac:grpSpMkLst>
            <pc:docMk/>
            <pc:sldMk cId="3222638723" sldId="2315"/>
            <ac:grpSpMk id="46" creationId="{94E09D02-F2F2-413E-9452-076279EEAF70}"/>
          </ac:grpSpMkLst>
        </pc:grpChg>
        <pc:grpChg chg="mod">
          <ac:chgData name="Bayron Quillay" userId="0b08cc2d-b048-41e2-a83a-291ca51e7f5e" providerId="ADAL" clId="{373299AB-CB17-4FE5-BF6C-2D353F93347B}" dt="2022-04-06T01:29:11.555" v="659" actId="164"/>
          <ac:grpSpMkLst>
            <pc:docMk/>
            <pc:sldMk cId="3222638723" sldId="2315"/>
            <ac:grpSpMk id="57" creationId="{C5AFF85A-941C-46A2-83BD-981015E67B40}"/>
          </ac:grpSpMkLst>
        </pc:grpChg>
        <pc:graphicFrameChg chg="mod">
          <ac:chgData name="Bayron Quillay" userId="0b08cc2d-b048-41e2-a83a-291ca51e7f5e" providerId="ADAL" clId="{373299AB-CB17-4FE5-BF6C-2D353F93347B}" dt="2022-04-06T01:35:40.602" v="693" actId="1076"/>
          <ac:graphicFrameMkLst>
            <pc:docMk/>
            <pc:sldMk cId="3222638723" sldId="2315"/>
            <ac:graphicFrameMk id="11" creationId="{4DD3D966-60CB-4DE7-BDC1-DFC53EC7CB41}"/>
          </ac:graphicFrameMkLst>
        </pc:graphicFrameChg>
        <pc:picChg chg="mod">
          <ac:chgData name="Bayron Quillay" userId="0b08cc2d-b048-41e2-a83a-291ca51e7f5e" providerId="ADAL" clId="{373299AB-CB17-4FE5-BF6C-2D353F93347B}" dt="2022-04-06T01:30:54.930" v="667" actId="164"/>
          <ac:picMkLst>
            <pc:docMk/>
            <pc:sldMk cId="3222638723" sldId="2315"/>
            <ac:picMk id="30" creationId="{9861171F-8B4B-41CA-AEC9-291EF1530C35}"/>
          </ac:picMkLst>
        </pc:picChg>
        <pc:picChg chg="mod">
          <ac:chgData name="Bayron Quillay" userId="0b08cc2d-b048-41e2-a83a-291ca51e7f5e" providerId="ADAL" clId="{373299AB-CB17-4FE5-BF6C-2D353F93347B}" dt="2022-04-06T01:30:54.930" v="667" actId="164"/>
          <ac:picMkLst>
            <pc:docMk/>
            <pc:sldMk cId="3222638723" sldId="2315"/>
            <ac:picMk id="35" creationId="{6B33316B-F3BA-471B-B5E7-4E1856741467}"/>
          </ac:picMkLst>
        </pc:picChg>
        <pc:picChg chg="mod">
          <ac:chgData name="Bayron Quillay" userId="0b08cc2d-b048-41e2-a83a-291ca51e7f5e" providerId="ADAL" clId="{373299AB-CB17-4FE5-BF6C-2D353F93347B}" dt="2022-04-06T01:30:54.930" v="667" actId="164"/>
          <ac:picMkLst>
            <pc:docMk/>
            <pc:sldMk cId="3222638723" sldId="2315"/>
            <ac:picMk id="37" creationId="{4F0E0338-D145-46E3-B231-A52293714D77}"/>
          </ac:picMkLst>
        </pc:picChg>
        <pc:picChg chg="mod">
          <ac:chgData name="Bayron Quillay" userId="0b08cc2d-b048-41e2-a83a-291ca51e7f5e" providerId="ADAL" clId="{373299AB-CB17-4FE5-BF6C-2D353F93347B}" dt="2022-04-06T01:29:11.555" v="659" actId="164"/>
          <ac:picMkLst>
            <pc:docMk/>
            <pc:sldMk cId="3222638723" sldId="2315"/>
            <ac:picMk id="60" creationId="{F4590670-ECA1-469A-A665-57D2FD32290F}"/>
          </ac:picMkLst>
        </pc:picChg>
        <pc:picChg chg="mod">
          <ac:chgData name="Bayron Quillay" userId="0b08cc2d-b048-41e2-a83a-291ca51e7f5e" providerId="ADAL" clId="{373299AB-CB17-4FE5-BF6C-2D353F93347B}" dt="2022-04-06T01:29:11.555" v="659" actId="164"/>
          <ac:picMkLst>
            <pc:docMk/>
            <pc:sldMk cId="3222638723" sldId="2315"/>
            <ac:picMk id="70" creationId="{9BF33E65-098C-48E2-B66B-AA19E97002D9}"/>
          </ac:picMkLst>
        </pc:picChg>
        <pc:picChg chg="mod">
          <ac:chgData name="Bayron Quillay" userId="0b08cc2d-b048-41e2-a83a-291ca51e7f5e" providerId="ADAL" clId="{373299AB-CB17-4FE5-BF6C-2D353F93347B}" dt="2022-04-06T01:29:11.555" v="659" actId="164"/>
          <ac:picMkLst>
            <pc:docMk/>
            <pc:sldMk cId="3222638723" sldId="2315"/>
            <ac:picMk id="76" creationId="{A6B53BCA-DC77-410B-BB99-BFA65F60AFA0}"/>
          </ac:picMkLst>
        </pc:picChg>
        <pc:picChg chg="mod">
          <ac:chgData name="Bayron Quillay" userId="0b08cc2d-b048-41e2-a83a-291ca51e7f5e" providerId="ADAL" clId="{373299AB-CB17-4FE5-BF6C-2D353F93347B}" dt="2022-04-06T01:29:11.555" v="659" actId="164"/>
          <ac:picMkLst>
            <pc:docMk/>
            <pc:sldMk cId="3222638723" sldId="2315"/>
            <ac:picMk id="89" creationId="{5D55F85F-AFE5-46E2-8A9D-54CF8D63C29E}"/>
          </ac:picMkLst>
        </pc:picChg>
        <pc:picChg chg="mod">
          <ac:chgData name="Bayron Quillay" userId="0b08cc2d-b048-41e2-a83a-291ca51e7f5e" providerId="ADAL" clId="{373299AB-CB17-4FE5-BF6C-2D353F93347B}" dt="2022-04-06T01:31:16.276" v="670" actId="14100"/>
          <ac:picMkLst>
            <pc:docMk/>
            <pc:sldMk cId="3222638723" sldId="2315"/>
            <ac:picMk id="5122" creationId="{5646428A-15F0-49BE-925A-DF58D503DC12}"/>
          </ac:picMkLst>
        </pc:picChg>
        <pc:cxnChg chg="mod">
          <ac:chgData name="Bayron Quillay" userId="0b08cc2d-b048-41e2-a83a-291ca51e7f5e" providerId="ADAL" clId="{373299AB-CB17-4FE5-BF6C-2D353F93347B}" dt="2022-04-06T01:31:16.276" v="670" actId="14100"/>
          <ac:cxnSpMkLst>
            <pc:docMk/>
            <pc:sldMk cId="3222638723" sldId="2315"/>
            <ac:cxnSpMk id="26" creationId="{A08AE0A6-F9CD-4946-B578-22DA709E9D22}"/>
          </ac:cxnSpMkLst>
        </pc:cxnChg>
      </pc:sldChg>
      <pc:sldChg chg="modSp add mod modNotesTx">
        <pc:chgData name="Bayron Quillay" userId="0b08cc2d-b048-41e2-a83a-291ca51e7f5e" providerId="ADAL" clId="{373299AB-CB17-4FE5-BF6C-2D353F93347B}" dt="2022-04-06T04:45:56.891" v="1196" actId="20577"/>
        <pc:sldMkLst>
          <pc:docMk/>
          <pc:sldMk cId="1931119260" sldId="2316"/>
        </pc:sldMkLst>
        <pc:spChg chg="mod">
          <ac:chgData name="Bayron Quillay" userId="0b08cc2d-b048-41e2-a83a-291ca51e7f5e" providerId="ADAL" clId="{373299AB-CB17-4FE5-BF6C-2D353F93347B}" dt="2022-04-06T04:45:56.891" v="1196" actId="20577"/>
          <ac:spMkLst>
            <pc:docMk/>
            <pc:sldMk cId="1931119260" sldId="2316"/>
            <ac:spMk id="2" creationId="{EC40BBD6-CE2C-4A46-B9EB-D933FED3363B}"/>
          </ac:spMkLst>
        </pc:spChg>
        <pc:spChg chg="mod">
          <ac:chgData name="Bayron Quillay" userId="0b08cc2d-b048-41e2-a83a-291ca51e7f5e" providerId="ADAL" clId="{373299AB-CB17-4FE5-BF6C-2D353F93347B}" dt="2022-04-06T02:07:31.334" v="829" actId="14100"/>
          <ac:spMkLst>
            <pc:docMk/>
            <pc:sldMk cId="1931119260" sldId="2316"/>
            <ac:spMk id="11" creationId="{A95B559E-F527-4743-9C86-9D2476373C73}"/>
          </ac:spMkLst>
        </pc:spChg>
        <pc:spChg chg="mod">
          <ac:chgData name="Bayron Quillay" userId="0b08cc2d-b048-41e2-a83a-291ca51e7f5e" providerId="ADAL" clId="{373299AB-CB17-4FE5-BF6C-2D353F93347B}" dt="2022-04-06T02:07:17.267" v="828" actId="14100"/>
          <ac:spMkLst>
            <pc:docMk/>
            <pc:sldMk cId="1931119260" sldId="2316"/>
            <ac:spMk id="12" creationId="{AFD868F7-6CD6-45C0-B3EC-7B95C60B8F7D}"/>
          </ac:spMkLst>
        </pc:spChg>
      </pc:sldChg>
      <pc:sldChg chg="addSp delSp modSp new mod ord">
        <pc:chgData name="Bayron Quillay" userId="0b08cc2d-b048-41e2-a83a-291ca51e7f5e" providerId="ADAL" clId="{373299AB-CB17-4FE5-BF6C-2D353F93347B}" dt="2022-04-06T04:47:45.146" v="1230" actId="20577"/>
        <pc:sldMkLst>
          <pc:docMk/>
          <pc:sldMk cId="3239226264" sldId="2317"/>
        </pc:sldMkLst>
        <pc:spChg chg="mod">
          <ac:chgData name="Bayron Quillay" userId="0b08cc2d-b048-41e2-a83a-291ca51e7f5e" providerId="ADAL" clId="{373299AB-CB17-4FE5-BF6C-2D353F93347B}" dt="2022-04-06T04:46:44.570" v="1212" actId="20577"/>
          <ac:spMkLst>
            <pc:docMk/>
            <pc:sldMk cId="3239226264" sldId="2317"/>
            <ac:spMk id="2" creationId="{698811D4-B4B0-480D-8A82-B75E4B5DC3CE}"/>
          </ac:spMkLst>
        </pc:spChg>
        <pc:spChg chg="mod">
          <ac:chgData name="Bayron Quillay" userId="0b08cc2d-b048-41e2-a83a-291ca51e7f5e" providerId="ADAL" clId="{373299AB-CB17-4FE5-BF6C-2D353F93347B}" dt="2022-04-06T04:46:30.635" v="1210" actId="20577"/>
          <ac:spMkLst>
            <pc:docMk/>
            <pc:sldMk cId="3239226264" sldId="2317"/>
            <ac:spMk id="3" creationId="{0F73E893-D4AB-4DAA-885A-EB8730237F6F}"/>
          </ac:spMkLst>
        </pc:spChg>
        <pc:spChg chg="mod">
          <ac:chgData name="Bayron Quillay" userId="0b08cc2d-b048-41e2-a83a-291ca51e7f5e" providerId="ADAL" clId="{373299AB-CB17-4FE5-BF6C-2D353F93347B}" dt="2022-04-06T04:47:45.146" v="1230" actId="20577"/>
          <ac:spMkLst>
            <pc:docMk/>
            <pc:sldMk cId="3239226264" sldId="2317"/>
            <ac:spMk id="4" creationId="{3E0669CE-7732-4909-A758-998828A88ED7}"/>
          </ac:spMkLst>
        </pc:spChg>
        <pc:spChg chg="mod">
          <ac:chgData name="Bayron Quillay" userId="0b08cc2d-b048-41e2-a83a-291ca51e7f5e" providerId="ADAL" clId="{373299AB-CB17-4FE5-BF6C-2D353F93347B}" dt="2022-04-06T04:47:15.627" v="1217" actId="20577"/>
          <ac:spMkLst>
            <pc:docMk/>
            <pc:sldMk cId="3239226264" sldId="2317"/>
            <ac:spMk id="9" creationId="{B7C14727-1326-48FF-9140-BC096C1CE756}"/>
          </ac:spMkLst>
        </pc:spChg>
        <pc:spChg chg="mod">
          <ac:chgData name="Bayron Quillay" userId="0b08cc2d-b048-41e2-a83a-291ca51e7f5e" providerId="ADAL" clId="{373299AB-CB17-4FE5-BF6C-2D353F93347B}" dt="2022-04-06T04:47:30.390" v="1219"/>
          <ac:spMkLst>
            <pc:docMk/>
            <pc:sldMk cId="3239226264" sldId="2317"/>
            <ac:spMk id="12" creationId="{3B15243D-F4AC-4945-9FD2-8C7C1C25728E}"/>
          </ac:spMkLst>
        </pc:spChg>
        <pc:grpChg chg="add del mod">
          <ac:chgData name="Bayron Quillay" userId="0b08cc2d-b048-41e2-a83a-291ca51e7f5e" providerId="ADAL" clId="{373299AB-CB17-4FE5-BF6C-2D353F93347B}" dt="2022-04-06T04:47:29.510" v="1218" actId="478"/>
          <ac:grpSpMkLst>
            <pc:docMk/>
            <pc:sldMk cId="3239226264" sldId="2317"/>
            <ac:grpSpMk id="7" creationId="{29F0DFBB-7873-46DD-A01C-8F02F5BE99E4}"/>
          </ac:grpSpMkLst>
        </pc:grpChg>
        <pc:grpChg chg="add mod">
          <ac:chgData name="Bayron Quillay" userId="0b08cc2d-b048-41e2-a83a-291ca51e7f5e" providerId="ADAL" clId="{373299AB-CB17-4FE5-BF6C-2D353F93347B}" dt="2022-04-06T04:47:30.390" v="1219"/>
          <ac:grpSpMkLst>
            <pc:docMk/>
            <pc:sldMk cId="3239226264" sldId="2317"/>
            <ac:grpSpMk id="10" creationId="{1EF93790-3D10-4CF2-81F8-D573EA603352}"/>
          </ac:grpSpMkLst>
        </pc:grpChg>
        <pc:picChg chg="add mod">
          <ac:chgData name="Bayron Quillay" userId="0b08cc2d-b048-41e2-a83a-291ca51e7f5e" providerId="ADAL" clId="{373299AB-CB17-4FE5-BF6C-2D353F93347B}" dt="2022-04-06T04:47:38.373" v="1220" actId="1076"/>
          <ac:picMkLst>
            <pc:docMk/>
            <pc:sldMk cId="3239226264" sldId="2317"/>
            <ac:picMk id="6" creationId="{736FC6B7-A251-4DD7-AF05-FF4EF274C59C}"/>
          </ac:picMkLst>
        </pc:picChg>
        <pc:cxnChg chg="mod">
          <ac:chgData name="Bayron Quillay" userId="0b08cc2d-b048-41e2-a83a-291ca51e7f5e" providerId="ADAL" clId="{373299AB-CB17-4FE5-BF6C-2D353F93347B}" dt="2022-04-06T04:47:03.296" v="1213"/>
          <ac:cxnSpMkLst>
            <pc:docMk/>
            <pc:sldMk cId="3239226264" sldId="2317"/>
            <ac:cxnSpMk id="8" creationId="{EE5CFE41-2C97-4589-8D19-7F37A620B197}"/>
          </ac:cxnSpMkLst>
        </pc:cxnChg>
        <pc:cxnChg chg="mod">
          <ac:chgData name="Bayron Quillay" userId="0b08cc2d-b048-41e2-a83a-291ca51e7f5e" providerId="ADAL" clId="{373299AB-CB17-4FE5-BF6C-2D353F93347B}" dt="2022-04-06T04:47:30.390" v="1219"/>
          <ac:cxnSpMkLst>
            <pc:docMk/>
            <pc:sldMk cId="3239226264" sldId="2317"/>
            <ac:cxnSpMk id="11" creationId="{56F92447-3E75-4FCD-AB41-381EF485761F}"/>
          </ac:cxnSpMkLst>
        </pc:cxnChg>
      </pc:sldChg>
      <pc:sldChg chg="modSp add mod ord">
        <pc:chgData name="Bayron Quillay" userId="0b08cc2d-b048-41e2-a83a-291ca51e7f5e" providerId="ADAL" clId="{373299AB-CB17-4FE5-BF6C-2D353F93347B}" dt="2022-04-06T04:44:13.360" v="1186" actId="207"/>
        <pc:sldMkLst>
          <pc:docMk/>
          <pc:sldMk cId="106261067" sldId="2318"/>
        </pc:sldMkLst>
        <pc:graphicFrameChg chg="modGraphic">
          <ac:chgData name="Bayron Quillay" userId="0b08cc2d-b048-41e2-a83a-291ca51e7f5e" providerId="ADAL" clId="{373299AB-CB17-4FE5-BF6C-2D353F93347B}" dt="2022-04-06T04:44:13.360" v="1186" actId="207"/>
          <ac:graphicFrameMkLst>
            <pc:docMk/>
            <pc:sldMk cId="106261067" sldId="2318"/>
            <ac:graphicFrameMk id="5" creationId="{2A5CF2A5-02FE-49AD-A9D6-A147FD88AADE}"/>
          </ac:graphicFrameMkLst>
        </pc:graphicFrameChg>
      </pc:sldChg>
      <pc:sldChg chg="modSp add mod ord">
        <pc:chgData name="Bayron Quillay" userId="0b08cc2d-b048-41e2-a83a-291ca51e7f5e" providerId="ADAL" clId="{373299AB-CB17-4FE5-BF6C-2D353F93347B}" dt="2022-04-06T04:44:34.718" v="1191" actId="207"/>
        <pc:sldMkLst>
          <pc:docMk/>
          <pc:sldMk cId="1435278695" sldId="2319"/>
        </pc:sldMkLst>
        <pc:graphicFrameChg chg="modGraphic">
          <ac:chgData name="Bayron Quillay" userId="0b08cc2d-b048-41e2-a83a-291ca51e7f5e" providerId="ADAL" clId="{373299AB-CB17-4FE5-BF6C-2D353F93347B}" dt="2022-04-06T04:44:34.718" v="1191" actId="207"/>
          <ac:graphicFrameMkLst>
            <pc:docMk/>
            <pc:sldMk cId="1435278695" sldId="2319"/>
            <ac:graphicFrameMk id="5" creationId="{2A5CF2A5-02FE-49AD-A9D6-A147FD88AADE}"/>
          </ac:graphicFrameMkLst>
        </pc:graphicFrameChg>
      </pc:sldChg>
      <pc:sldChg chg="addSp delSp modSp add mod">
        <pc:chgData name="Bayron Quillay" userId="0b08cc2d-b048-41e2-a83a-291ca51e7f5e" providerId="ADAL" clId="{373299AB-CB17-4FE5-BF6C-2D353F93347B}" dt="2022-04-06T22:21:24.893" v="1313" actId="1076"/>
        <pc:sldMkLst>
          <pc:docMk/>
          <pc:sldMk cId="4192234327" sldId="2320"/>
        </pc:sldMkLst>
        <pc:spChg chg="mod">
          <ac:chgData name="Bayron Quillay" userId="0b08cc2d-b048-41e2-a83a-291ca51e7f5e" providerId="ADAL" clId="{373299AB-CB17-4FE5-BF6C-2D353F93347B}" dt="2022-04-06T22:19:19.149" v="1300" actId="1076"/>
          <ac:spMkLst>
            <pc:docMk/>
            <pc:sldMk cId="4192234327" sldId="2320"/>
            <ac:spMk id="12" creationId="{3B15243D-F4AC-4945-9FD2-8C7C1C25728E}"/>
          </ac:spMkLst>
        </pc:spChg>
        <pc:picChg chg="del">
          <ac:chgData name="Bayron Quillay" userId="0b08cc2d-b048-41e2-a83a-291ca51e7f5e" providerId="ADAL" clId="{373299AB-CB17-4FE5-BF6C-2D353F93347B}" dt="2022-04-06T22:19:20.395" v="1301" actId="478"/>
          <ac:picMkLst>
            <pc:docMk/>
            <pc:sldMk cId="4192234327" sldId="2320"/>
            <ac:picMk id="6" creationId="{736FC6B7-A251-4DD7-AF05-FF4EF274C59C}"/>
          </ac:picMkLst>
        </pc:picChg>
        <pc:picChg chg="add del mod">
          <ac:chgData name="Bayron Quillay" userId="0b08cc2d-b048-41e2-a83a-291ca51e7f5e" providerId="ADAL" clId="{373299AB-CB17-4FE5-BF6C-2D353F93347B}" dt="2022-04-06T22:20:54.952" v="1306" actId="478"/>
          <ac:picMkLst>
            <pc:docMk/>
            <pc:sldMk cId="4192234327" sldId="2320"/>
            <ac:picMk id="7" creationId="{5A0255B6-7BC8-44D6-991F-51D14272C3FC}"/>
          </ac:picMkLst>
        </pc:picChg>
        <pc:picChg chg="add mod">
          <ac:chgData name="Bayron Quillay" userId="0b08cc2d-b048-41e2-a83a-291ca51e7f5e" providerId="ADAL" clId="{373299AB-CB17-4FE5-BF6C-2D353F93347B}" dt="2022-04-06T22:21:24.893" v="1313" actId="1076"/>
          <ac:picMkLst>
            <pc:docMk/>
            <pc:sldMk cId="4192234327" sldId="2320"/>
            <ac:picMk id="9" creationId="{BE7474D8-F799-46DA-89AB-801BEB0FFD67}"/>
          </ac:picMkLst>
        </pc:picChg>
      </pc:sldChg>
      <pc:sldChg chg="delSp modSp add mod">
        <pc:chgData name="Bayron Quillay" userId="0b08cc2d-b048-41e2-a83a-291ca51e7f5e" providerId="ADAL" clId="{373299AB-CB17-4FE5-BF6C-2D353F93347B}" dt="2022-04-06T22:22:32.578" v="1349" actId="478"/>
        <pc:sldMkLst>
          <pc:docMk/>
          <pc:sldMk cId="4290626064" sldId="2321"/>
        </pc:sldMkLst>
        <pc:spChg chg="mod">
          <ac:chgData name="Bayron Quillay" userId="0b08cc2d-b048-41e2-a83a-291ca51e7f5e" providerId="ADAL" clId="{373299AB-CB17-4FE5-BF6C-2D353F93347B}" dt="2022-04-06T22:21:53.707" v="1345" actId="1076"/>
          <ac:spMkLst>
            <pc:docMk/>
            <pc:sldMk cId="4290626064" sldId="2321"/>
            <ac:spMk id="12" creationId="{3B15243D-F4AC-4945-9FD2-8C7C1C25728E}"/>
          </ac:spMkLst>
        </pc:spChg>
        <pc:picChg chg="del mod">
          <ac:chgData name="Bayron Quillay" userId="0b08cc2d-b048-41e2-a83a-291ca51e7f5e" providerId="ADAL" clId="{373299AB-CB17-4FE5-BF6C-2D353F93347B}" dt="2022-04-06T22:22:32.578" v="1349" actId="478"/>
          <ac:picMkLst>
            <pc:docMk/>
            <pc:sldMk cId="4290626064" sldId="2321"/>
            <ac:picMk id="9" creationId="{BE7474D8-F799-46DA-89AB-801BEB0FFD67}"/>
          </ac:picMkLst>
        </pc:picChg>
      </pc:sldChg>
    </pc:docChg>
  </pc:docChgLst>
  <pc:docChgLst>
    <pc:chgData name="Bayron Quillay" userId="0b08cc2d-b048-41e2-a83a-291ca51e7f5e" providerId="ADAL" clId="{43905168-391B-4393-9F34-DC37CAA0DDE9}"/>
    <pc:docChg chg="undo redo custSel addSld modSld sldOrd modMainMaster">
      <pc:chgData name="Bayron Quillay" userId="0b08cc2d-b048-41e2-a83a-291ca51e7f5e" providerId="ADAL" clId="{43905168-391B-4393-9F34-DC37CAA0DDE9}" dt="2022-04-07T00:49:29.593" v="869" actId="1076"/>
      <pc:docMkLst>
        <pc:docMk/>
      </pc:docMkLst>
      <pc:sldChg chg="delSp modSp mod modNotesTx">
        <pc:chgData name="Bayron Quillay" userId="0b08cc2d-b048-41e2-a83a-291ca51e7f5e" providerId="ADAL" clId="{43905168-391B-4393-9F34-DC37CAA0DDE9}" dt="2022-04-07T00:35:19.805" v="778" actId="478"/>
        <pc:sldMkLst>
          <pc:docMk/>
          <pc:sldMk cId="2130856185" sldId="2275"/>
        </pc:sldMkLst>
        <pc:grpChg chg="del">
          <ac:chgData name="Bayron Quillay" userId="0b08cc2d-b048-41e2-a83a-291ca51e7f5e" providerId="ADAL" clId="{43905168-391B-4393-9F34-DC37CAA0DDE9}" dt="2022-04-07T00:35:16.195" v="773" actId="478"/>
          <ac:grpSpMkLst>
            <pc:docMk/>
            <pc:sldMk cId="2130856185" sldId="2275"/>
            <ac:grpSpMk id="77" creationId="{0F1927EF-891B-433B-8F12-B018E77CB5C2}"/>
          </ac:grpSpMkLst>
        </pc:grpChg>
        <pc:picChg chg="del mod">
          <ac:chgData name="Bayron Quillay" userId="0b08cc2d-b048-41e2-a83a-291ca51e7f5e" providerId="ADAL" clId="{43905168-391B-4393-9F34-DC37CAA0DDE9}" dt="2022-04-07T00:35:18.348" v="777" actId="478"/>
          <ac:picMkLst>
            <pc:docMk/>
            <pc:sldMk cId="2130856185" sldId="2275"/>
            <ac:picMk id="6" creationId="{F2E47C3E-5AB7-48EC-A744-A52C2E3142E0}"/>
          </ac:picMkLst>
        </pc:picChg>
        <pc:picChg chg="del">
          <ac:chgData name="Bayron Quillay" userId="0b08cc2d-b048-41e2-a83a-291ca51e7f5e" providerId="ADAL" clId="{43905168-391B-4393-9F34-DC37CAA0DDE9}" dt="2022-04-07T00:35:15.510" v="772" actId="478"/>
          <ac:picMkLst>
            <pc:docMk/>
            <pc:sldMk cId="2130856185" sldId="2275"/>
            <ac:picMk id="35" creationId="{7B0DE844-E47F-4937-99DA-F94226418BB7}"/>
          </ac:picMkLst>
        </pc:picChg>
        <pc:picChg chg="del">
          <ac:chgData name="Bayron Quillay" userId="0b08cc2d-b048-41e2-a83a-291ca51e7f5e" providerId="ADAL" clId="{43905168-391B-4393-9F34-DC37CAA0DDE9}" dt="2022-04-07T00:35:16.853" v="774" actId="478"/>
          <ac:picMkLst>
            <pc:docMk/>
            <pc:sldMk cId="2130856185" sldId="2275"/>
            <ac:picMk id="84" creationId="{0DF16F83-AC73-463D-BD98-463F7101F1CD}"/>
          </ac:picMkLst>
        </pc:picChg>
        <pc:picChg chg="del">
          <ac:chgData name="Bayron Quillay" userId="0b08cc2d-b048-41e2-a83a-291ca51e7f5e" providerId="ADAL" clId="{43905168-391B-4393-9F34-DC37CAA0DDE9}" dt="2022-04-07T00:35:17.948" v="775" actId="478"/>
          <ac:picMkLst>
            <pc:docMk/>
            <pc:sldMk cId="2130856185" sldId="2275"/>
            <ac:picMk id="86" creationId="{182B0F99-ED86-4A9E-9F51-9DBB10BE2CF4}"/>
          </ac:picMkLst>
        </pc:picChg>
        <pc:picChg chg="del">
          <ac:chgData name="Bayron Quillay" userId="0b08cc2d-b048-41e2-a83a-291ca51e7f5e" providerId="ADAL" clId="{43905168-391B-4393-9F34-DC37CAA0DDE9}" dt="2022-04-07T00:35:19.805" v="778" actId="478"/>
          <ac:picMkLst>
            <pc:docMk/>
            <pc:sldMk cId="2130856185" sldId="2275"/>
            <ac:picMk id="90" creationId="{9712EF29-5D4D-44B9-B932-44168F594007}"/>
          </ac:picMkLst>
        </pc:picChg>
      </pc:sldChg>
      <pc:sldChg chg="addSp delSp modSp mod modNotesTx">
        <pc:chgData name="Bayron Quillay" userId="0b08cc2d-b048-41e2-a83a-291ca51e7f5e" providerId="ADAL" clId="{43905168-391B-4393-9F34-DC37CAA0DDE9}" dt="2022-04-07T00:38:30.566" v="787" actId="478"/>
        <pc:sldMkLst>
          <pc:docMk/>
          <pc:sldMk cId="3086235316" sldId="2281"/>
        </pc:sldMkLst>
        <pc:spChg chg="del mod">
          <ac:chgData name="Bayron Quillay" userId="0b08cc2d-b048-41e2-a83a-291ca51e7f5e" providerId="ADAL" clId="{43905168-391B-4393-9F34-DC37CAA0DDE9}" dt="2022-04-07T00:38:30.566" v="787" actId="478"/>
          <ac:spMkLst>
            <pc:docMk/>
            <pc:sldMk cId="3086235316" sldId="2281"/>
            <ac:spMk id="6" creationId="{4977737A-F13E-4BE9-B972-9185DEA933A2}"/>
          </ac:spMkLst>
        </pc:spChg>
        <pc:spChg chg="del">
          <ac:chgData name="Bayron Quillay" userId="0b08cc2d-b048-41e2-a83a-291ca51e7f5e" providerId="ADAL" clId="{43905168-391B-4393-9F34-DC37CAA0DDE9}" dt="2022-04-07T00:38:27.973" v="785" actId="478"/>
          <ac:spMkLst>
            <pc:docMk/>
            <pc:sldMk cId="3086235316" sldId="2281"/>
            <ac:spMk id="24" creationId="{309316CC-EA53-406B-AAAB-B1A8E7DE29B0}"/>
          </ac:spMkLst>
        </pc:spChg>
        <pc:spChg chg="mod">
          <ac:chgData name="Bayron Quillay" userId="0b08cc2d-b048-41e2-a83a-291ca51e7f5e" providerId="ADAL" clId="{43905168-391B-4393-9F34-DC37CAA0DDE9}" dt="2022-04-07T00:26:07.019" v="717"/>
          <ac:spMkLst>
            <pc:docMk/>
            <pc:sldMk cId="3086235316" sldId="2281"/>
            <ac:spMk id="40" creationId="{F149C3B6-25F1-42AA-BADB-C6E8D7AE06A2}"/>
          </ac:spMkLst>
        </pc:spChg>
        <pc:spChg chg="mod">
          <ac:chgData name="Bayron Quillay" userId="0b08cc2d-b048-41e2-a83a-291ca51e7f5e" providerId="ADAL" clId="{43905168-391B-4393-9F34-DC37CAA0DDE9}" dt="2022-04-07T00:26:52.205" v="763" actId="20577"/>
          <ac:spMkLst>
            <pc:docMk/>
            <pc:sldMk cId="3086235316" sldId="2281"/>
            <ac:spMk id="43" creationId="{7C21906A-0839-4A4F-ACDE-8865220E5D87}"/>
          </ac:spMkLst>
        </pc:spChg>
        <pc:spChg chg="mod">
          <ac:chgData name="Bayron Quillay" userId="0b08cc2d-b048-41e2-a83a-291ca51e7f5e" providerId="ADAL" clId="{43905168-391B-4393-9F34-DC37CAA0DDE9}" dt="2022-04-07T00:26:39.771" v="745" actId="20577"/>
          <ac:spMkLst>
            <pc:docMk/>
            <pc:sldMk cId="3086235316" sldId="2281"/>
            <ac:spMk id="46" creationId="{63E0B637-D899-408B-B3CD-475A018EE0DD}"/>
          </ac:spMkLst>
        </pc:spChg>
        <pc:grpChg chg="add del mod">
          <ac:chgData name="Bayron Quillay" userId="0b08cc2d-b048-41e2-a83a-291ca51e7f5e" providerId="ADAL" clId="{43905168-391B-4393-9F34-DC37CAA0DDE9}" dt="2022-04-07T00:27:06.302" v="764" actId="478"/>
          <ac:grpSpMkLst>
            <pc:docMk/>
            <pc:sldMk cId="3086235316" sldId="2281"/>
            <ac:grpSpMk id="38" creationId="{F9A082C2-29EC-42CD-AA67-1852A800891D}"/>
          </ac:grpSpMkLst>
        </pc:grpChg>
        <pc:grpChg chg="add mod">
          <ac:chgData name="Bayron Quillay" userId="0b08cc2d-b048-41e2-a83a-291ca51e7f5e" providerId="ADAL" clId="{43905168-391B-4393-9F34-DC37CAA0DDE9}" dt="2022-04-07T00:27:28.215" v="767" actId="1076"/>
          <ac:grpSpMkLst>
            <pc:docMk/>
            <pc:sldMk cId="3086235316" sldId="2281"/>
            <ac:grpSpMk id="41" creationId="{D5C38D3D-1322-4DDD-B78D-3C4C5F37A192}"/>
          </ac:grpSpMkLst>
        </pc:grpChg>
        <pc:grpChg chg="add mod">
          <ac:chgData name="Bayron Quillay" userId="0b08cc2d-b048-41e2-a83a-291ca51e7f5e" providerId="ADAL" clId="{43905168-391B-4393-9F34-DC37CAA0DDE9}" dt="2022-04-07T00:26:26.079" v="725" actId="1076"/>
          <ac:grpSpMkLst>
            <pc:docMk/>
            <pc:sldMk cId="3086235316" sldId="2281"/>
            <ac:grpSpMk id="44" creationId="{79D4172D-C4B4-459E-A4E6-0646D0E6FD37}"/>
          </ac:grpSpMkLst>
        </pc:grpChg>
        <pc:picChg chg="del">
          <ac:chgData name="Bayron Quillay" userId="0b08cc2d-b048-41e2-a83a-291ca51e7f5e" providerId="ADAL" clId="{43905168-391B-4393-9F34-DC37CAA0DDE9}" dt="2022-04-07T00:38:26.918" v="784" actId="478"/>
          <ac:picMkLst>
            <pc:docMk/>
            <pc:sldMk cId="3086235316" sldId="2281"/>
            <ac:picMk id="5" creationId="{91249DCE-378B-4E46-92A3-25BB9DC861E5}"/>
          </ac:picMkLst>
        </pc:picChg>
        <pc:picChg chg="mod">
          <ac:chgData name="Bayron Quillay" userId="0b08cc2d-b048-41e2-a83a-291ca51e7f5e" providerId="ADAL" clId="{43905168-391B-4393-9F34-DC37CAA0DDE9}" dt="2022-04-07T00:27:28.215" v="767" actId="1076"/>
          <ac:picMkLst>
            <pc:docMk/>
            <pc:sldMk cId="3086235316" sldId="2281"/>
            <ac:picMk id="7" creationId="{0F637274-E042-14D4-6E43-1DB7CFD3DA00}"/>
          </ac:picMkLst>
        </pc:picChg>
        <pc:picChg chg="add mod">
          <ac:chgData name="Bayron Quillay" userId="0b08cc2d-b048-41e2-a83a-291ca51e7f5e" providerId="ADAL" clId="{43905168-391B-4393-9F34-DC37CAA0DDE9}" dt="2022-04-07T00:25:52.217" v="716" actId="1076"/>
          <ac:picMkLst>
            <pc:docMk/>
            <pc:sldMk cId="3086235316" sldId="2281"/>
            <ac:picMk id="15" creationId="{26376A38-FAD4-46DF-99E5-BD6F2643D97E}"/>
          </ac:picMkLst>
        </pc:picChg>
        <pc:cxnChg chg="mod">
          <ac:chgData name="Bayron Quillay" userId="0b08cc2d-b048-41e2-a83a-291ca51e7f5e" providerId="ADAL" clId="{43905168-391B-4393-9F34-DC37CAA0DDE9}" dt="2022-04-07T00:26:07.019" v="717"/>
          <ac:cxnSpMkLst>
            <pc:docMk/>
            <pc:sldMk cId="3086235316" sldId="2281"/>
            <ac:cxnSpMk id="39" creationId="{83397829-B4BB-4326-9187-B2907FE350DC}"/>
          </ac:cxnSpMkLst>
        </pc:cxnChg>
        <pc:cxnChg chg="mod">
          <ac:chgData name="Bayron Quillay" userId="0b08cc2d-b048-41e2-a83a-291ca51e7f5e" providerId="ADAL" clId="{43905168-391B-4393-9F34-DC37CAA0DDE9}" dt="2022-04-07T00:26:07.249" v="718"/>
          <ac:cxnSpMkLst>
            <pc:docMk/>
            <pc:sldMk cId="3086235316" sldId="2281"/>
            <ac:cxnSpMk id="42" creationId="{0CA99D2A-2193-494F-838F-DBCE37E42B6B}"/>
          </ac:cxnSpMkLst>
        </pc:cxnChg>
        <pc:cxnChg chg="mod">
          <ac:chgData name="Bayron Quillay" userId="0b08cc2d-b048-41e2-a83a-291ca51e7f5e" providerId="ADAL" clId="{43905168-391B-4393-9F34-DC37CAA0DDE9}" dt="2022-04-07T00:26:17.906" v="722"/>
          <ac:cxnSpMkLst>
            <pc:docMk/>
            <pc:sldMk cId="3086235316" sldId="2281"/>
            <ac:cxnSpMk id="45" creationId="{01FE55ED-7453-4CB8-9256-1B87275CFD67}"/>
          </ac:cxnSpMkLst>
        </pc:cxnChg>
      </pc:sldChg>
      <pc:sldChg chg="addSp delSp modSp mod modNotesTx">
        <pc:chgData name="Bayron Quillay" userId="0b08cc2d-b048-41e2-a83a-291ca51e7f5e" providerId="ADAL" clId="{43905168-391B-4393-9F34-DC37CAA0DDE9}" dt="2022-04-07T00:34:08.586" v="768" actId="478"/>
        <pc:sldMkLst>
          <pc:docMk/>
          <pc:sldMk cId="2296701474" sldId="2299"/>
        </pc:sldMkLst>
        <pc:spChg chg="add del mod">
          <ac:chgData name="Bayron Quillay" userId="0b08cc2d-b048-41e2-a83a-291ca51e7f5e" providerId="ADAL" clId="{43905168-391B-4393-9F34-DC37CAA0DDE9}" dt="2022-04-06T18:56:52.366" v="28" actId="478"/>
          <ac:spMkLst>
            <pc:docMk/>
            <pc:sldMk cId="2296701474" sldId="2299"/>
            <ac:spMk id="2" creationId="{6001818F-9604-4FD9-BC0C-65F427C892F1}"/>
          </ac:spMkLst>
        </pc:spChg>
        <pc:spChg chg="mod ord">
          <ac:chgData name="Bayron Quillay" userId="0b08cc2d-b048-41e2-a83a-291ca51e7f5e" providerId="ADAL" clId="{43905168-391B-4393-9F34-DC37CAA0DDE9}" dt="2022-04-07T00:14:10.358" v="574" actId="20577"/>
          <ac:spMkLst>
            <pc:docMk/>
            <pc:sldMk cId="2296701474" sldId="2299"/>
            <ac:spMk id="3" creationId="{15731CED-DC89-6F44-BDFD-F6636F4F380A}"/>
          </ac:spMkLst>
        </pc:spChg>
        <pc:spChg chg="del">
          <ac:chgData name="Bayron Quillay" userId="0b08cc2d-b048-41e2-a83a-291ca51e7f5e" providerId="ADAL" clId="{43905168-391B-4393-9F34-DC37CAA0DDE9}" dt="2022-04-06T18:51:51.146" v="0" actId="478"/>
          <ac:spMkLst>
            <pc:docMk/>
            <pc:sldMk cId="2296701474" sldId="2299"/>
            <ac:spMk id="5" creationId="{3A422606-DACF-8F47-BD3A-7396B2DBB4EF}"/>
          </ac:spMkLst>
        </pc:spChg>
        <pc:spChg chg="add del mod">
          <ac:chgData name="Bayron Quillay" userId="0b08cc2d-b048-41e2-a83a-291ca51e7f5e" providerId="ADAL" clId="{43905168-391B-4393-9F34-DC37CAA0DDE9}" dt="2022-04-06T18:56:50.671" v="26" actId="478"/>
          <ac:spMkLst>
            <pc:docMk/>
            <pc:sldMk cId="2296701474" sldId="2299"/>
            <ac:spMk id="6" creationId="{5BF993F5-8E81-41C7-A996-613B45320306}"/>
          </ac:spMkLst>
        </pc:spChg>
        <pc:spChg chg="add mod">
          <ac:chgData name="Bayron Quillay" userId="0b08cc2d-b048-41e2-a83a-291ca51e7f5e" providerId="ADAL" clId="{43905168-391B-4393-9F34-DC37CAA0DDE9}" dt="2022-04-06T18:56:01.463" v="18" actId="164"/>
          <ac:spMkLst>
            <pc:docMk/>
            <pc:sldMk cId="2296701474" sldId="2299"/>
            <ac:spMk id="7" creationId="{1846D375-4873-4F38-95BC-C211D9E66344}"/>
          </ac:spMkLst>
        </pc:spChg>
        <pc:spChg chg="del mod">
          <ac:chgData name="Bayron Quillay" userId="0b08cc2d-b048-41e2-a83a-291ca51e7f5e" providerId="ADAL" clId="{43905168-391B-4393-9F34-DC37CAA0DDE9}" dt="2022-04-06T18:56:51.535" v="27" actId="478"/>
          <ac:spMkLst>
            <pc:docMk/>
            <pc:sldMk cId="2296701474" sldId="2299"/>
            <ac:spMk id="8" creationId="{09B26DA9-43DA-CD40-BACE-C79446EEC442}"/>
          </ac:spMkLst>
        </pc:spChg>
        <pc:spChg chg="add mod">
          <ac:chgData name="Bayron Quillay" userId="0b08cc2d-b048-41e2-a83a-291ca51e7f5e" providerId="ADAL" clId="{43905168-391B-4393-9F34-DC37CAA0DDE9}" dt="2022-04-06T18:56:01.463" v="18" actId="164"/>
          <ac:spMkLst>
            <pc:docMk/>
            <pc:sldMk cId="2296701474" sldId="2299"/>
            <ac:spMk id="9" creationId="{AA74B77A-1A0D-4326-90B1-56FF9FE483EF}"/>
          </ac:spMkLst>
        </pc:spChg>
        <pc:spChg chg="add del mod">
          <ac:chgData name="Bayron Quillay" userId="0b08cc2d-b048-41e2-a83a-291ca51e7f5e" providerId="ADAL" clId="{43905168-391B-4393-9F34-DC37CAA0DDE9}" dt="2022-04-06T18:54:18.152" v="12" actId="478"/>
          <ac:spMkLst>
            <pc:docMk/>
            <pc:sldMk cId="2296701474" sldId="2299"/>
            <ac:spMk id="10" creationId="{E2992DFB-5E65-4925-9718-14993BF84E64}"/>
          </ac:spMkLst>
        </pc:spChg>
        <pc:spChg chg="add del mod">
          <ac:chgData name="Bayron Quillay" userId="0b08cc2d-b048-41e2-a83a-291ca51e7f5e" providerId="ADAL" clId="{43905168-391B-4393-9F34-DC37CAA0DDE9}" dt="2022-04-06T18:54:16.671" v="11" actId="478"/>
          <ac:spMkLst>
            <pc:docMk/>
            <pc:sldMk cId="2296701474" sldId="2299"/>
            <ac:spMk id="11" creationId="{2D2446B4-52DF-43C6-A9E9-724020DBFDEA}"/>
          </ac:spMkLst>
        </pc:spChg>
        <pc:spChg chg="mod">
          <ac:chgData name="Bayron Quillay" userId="0b08cc2d-b048-41e2-a83a-291ca51e7f5e" providerId="ADAL" clId="{43905168-391B-4393-9F34-DC37CAA0DDE9}" dt="2022-04-06T19:01:18.834" v="77" actId="208"/>
          <ac:spMkLst>
            <pc:docMk/>
            <pc:sldMk cId="2296701474" sldId="2299"/>
            <ac:spMk id="13" creationId="{80941CC9-D319-4854-BA07-03A1BFABCD1F}"/>
          </ac:spMkLst>
        </pc:spChg>
        <pc:spChg chg="mod">
          <ac:chgData name="Bayron Quillay" userId="0b08cc2d-b048-41e2-a83a-291ca51e7f5e" providerId="ADAL" clId="{43905168-391B-4393-9F34-DC37CAA0DDE9}" dt="2022-04-06T18:56:20.404" v="22" actId="208"/>
          <ac:spMkLst>
            <pc:docMk/>
            <pc:sldMk cId="2296701474" sldId="2299"/>
            <ac:spMk id="14" creationId="{91656048-D0D6-4B96-A7F7-2AE3CCFA517C}"/>
          </ac:spMkLst>
        </pc:spChg>
        <pc:spChg chg="mod">
          <ac:chgData name="Bayron Quillay" userId="0b08cc2d-b048-41e2-a83a-291ca51e7f5e" providerId="ADAL" clId="{43905168-391B-4393-9F34-DC37CAA0DDE9}" dt="2022-04-06T19:01:05.233" v="76" actId="113"/>
          <ac:spMkLst>
            <pc:docMk/>
            <pc:sldMk cId="2296701474" sldId="2299"/>
            <ac:spMk id="15" creationId="{0C25B88C-72A2-4C41-810E-B51DA8950C0E}"/>
          </ac:spMkLst>
        </pc:spChg>
        <pc:grpChg chg="add mod">
          <ac:chgData name="Bayron Quillay" userId="0b08cc2d-b048-41e2-a83a-291ca51e7f5e" providerId="ADAL" clId="{43905168-391B-4393-9F34-DC37CAA0DDE9}" dt="2022-04-06T19:02:30.445" v="82" actId="1076"/>
          <ac:grpSpMkLst>
            <pc:docMk/>
            <pc:sldMk cId="2296701474" sldId="2299"/>
            <ac:grpSpMk id="4" creationId="{61454C0D-83A7-4BC2-8A1D-1B039C44ED4C}"/>
          </ac:grpSpMkLst>
        </pc:grpChg>
        <pc:grpChg chg="add mod">
          <ac:chgData name="Bayron Quillay" userId="0b08cc2d-b048-41e2-a83a-291ca51e7f5e" providerId="ADAL" clId="{43905168-391B-4393-9F34-DC37CAA0DDE9}" dt="2022-04-06T19:02:30.445" v="82" actId="1076"/>
          <ac:grpSpMkLst>
            <pc:docMk/>
            <pc:sldMk cId="2296701474" sldId="2299"/>
            <ac:grpSpMk id="12" creationId="{FA7A0EAD-9490-4E0A-B660-8CC61A06B53D}"/>
          </ac:grpSpMkLst>
        </pc:grpChg>
        <pc:picChg chg="add del mod">
          <ac:chgData name="Bayron Quillay" userId="0b08cc2d-b048-41e2-a83a-291ca51e7f5e" providerId="ADAL" clId="{43905168-391B-4393-9F34-DC37CAA0DDE9}" dt="2022-04-07T00:34:08.586" v="768" actId="478"/>
          <ac:picMkLst>
            <pc:docMk/>
            <pc:sldMk cId="2296701474" sldId="2299"/>
            <ac:picMk id="16" creationId="{F3B9DF0A-0DA3-40D4-842F-28C63C2479FE}"/>
          </ac:picMkLst>
        </pc:picChg>
        <pc:picChg chg="add mod">
          <ac:chgData name="Bayron Quillay" userId="0b08cc2d-b048-41e2-a83a-291ca51e7f5e" providerId="ADAL" clId="{43905168-391B-4393-9F34-DC37CAA0DDE9}" dt="2022-04-06T19:01:46.292" v="79" actId="1076"/>
          <ac:picMkLst>
            <pc:docMk/>
            <pc:sldMk cId="2296701474" sldId="2299"/>
            <ac:picMk id="17" creationId="{FF16984B-10D8-4F9A-A3BE-AA71C745E065}"/>
          </ac:picMkLst>
        </pc:picChg>
        <pc:picChg chg="add mod">
          <ac:chgData name="Bayron Quillay" userId="0b08cc2d-b048-41e2-a83a-291ca51e7f5e" providerId="ADAL" clId="{43905168-391B-4393-9F34-DC37CAA0DDE9}" dt="2022-04-06T19:02:44.040" v="85" actId="14100"/>
          <ac:picMkLst>
            <pc:docMk/>
            <pc:sldMk cId="2296701474" sldId="2299"/>
            <ac:picMk id="4098" creationId="{0C4F06C8-8268-4986-B329-BE27F5C3A51A}"/>
          </ac:picMkLst>
        </pc:picChg>
      </pc:sldChg>
      <pc:sldChg chg="addSp delSp modSp mod modNotesTx">
        <pc:chgData name="Bayron Quillay" userId="0b08cc2d-b048-41e2-a83a-291ca51e7f5e" providerId="ADAL" clId="{43905168-391B-4393-9F34-DC37CAA0DDE9}" dt="2022-04-07T00:45:36.884" v="836" actId="20577"/>
        <pc:sldMkLst>
          <pc:docMk/>
          <pc:sldMk cId="766648648" sldId="2300"/>
        </pc:sldMkLst>
        <pc:spChg chg="mod">
          <ac:chgData name="Bayron Quillay" userId="0b08cc2d-b048-41e2-a83a-291ca51e7f5e" providerId="ADAL" clId="{43905168-391B-4393-9F34-DC37CAA0DDE9}" dt="2022-04-07T00:45:36.884" v="836" actId="20577"/>
          <ac:spMkLst>
            <pc:docMk/>
            <pc:sldMk cId="766648648" sldId="2300"/>
            <ac:spMk id="4" creationId="{0DCCB670-5486-444F-9DA5-8AA2FEFC319A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7" creationId="{53370E0F-9785-49B8-AA8C-D6AE28D817A9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8" creationId="{8DFE4AD4-C88C-47B5-A776-697624301ADB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9" creationId="{ABE78B6F-BEEB-4E49-A3E5-B9DE907DD094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10" creationId="{44C83910-C739-489E-9FDB-4B238C62D521}"/>
          </ac:spMkLst>
        </pc:spChg>
        <pc:spChg chg="mod">
          <ac:chgData name="Bayron Quillay" userId="0b08cc2d-b048-41e2-a83a-291ca51e7f5e" providerId="ADAL" clId="{43905168-391B-4393-9F34-DC37CAA0DDE9}" dt="2022-04-07T00:45:27.220" v="825" actId="1076"/>
          <ac:spMkLst>
            <pc:docMk/>
            <pc:sldMk cId="766648648" sldId="2300"/>
            <ac:spMk id="12" creationId="{34B52D6E-511A-4A68-BB9E-D2CCC40BCD8F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13" creationId="{849B04FE-62E0-4A2B-A5C1-8CF663DE1E8B}"/>
          </ac:spMkLst>
        </pc:spChg>
        <pc:spChg chg="mod">
          <ac:chgData name="Bayron Quillay" userId="0b08cc2d-b048-41e2-a83a-291ca51e7f5e" providerId="ADAL" clId="{43905168-391B-4393-9F34-DC37CAA0DDE9}" dt="2022-04-07T00:45:21.333" v="824" actId="1076"/>
          <ac:spMkLst>
            <pc:docMk/>
            <pc:sldMk cId="766648648" sldId="2300"/>
            <ac:spMk id="14" creationId="{54D0003B-B1D6-4533-A277-4375B8F28DB2}"/>
          </ac:spMkLst>
        </pc:spChg>
        <pc:picChg chg="add mod">
          <ac:chgData name="Bayron Quillay" userId="0b08cc2d-b048-41e2-a83a-291ca51e7f5e" providerId="ADAL" clId="{43905168-391B-4393-9F34-DC37CAA0DDE9}" dt="2022-04-07T00:45:12.191" v="823" actId="1076"/>
          <ac:picMkLst>
            <pc:docMk/>
            <pc:sldMk cId="766648648" sldId="2300"/>
            <ac:picMk id="6" creationId="{D81F7AA9-1D70-4928-8337-D2F13F6BD2DC}"/>
          </ac:picMkLst>
        </pc:picChg>
        <pc:picChg chg="del mod">
          <ac:chgData name="Bayron Quillay" userId="0b08cc2d-b048-41e2-a83a-291ca51e7f5e" providerId="ADAL" clId="{43905168-391B-4393-9F34-DC37CAA0DDE9}" dt="2022-04-07T00:45:30.102" v="826" actId="478"/>
          <ac:picMkLst>
            <pc:docMk/>
            <pc:sldMk cId="766648648" sldId="2300"/>
            <ac:picMk id="15" creationId="{AA583F62-1125-4D13-BB56-00EAD9D63C5D}"/>
          </ac:picMkLst>
        </pc:picChg>
        <pc:picChg chg="del">
          <ac:chgData name="Bayron Quillay" userId="0b08cc2d-b048-41e2-a83a-291ca51e7f5e" providerId="ADAL" clId="{43905168-391B-4393-9F34-DC37CAA0DDE9}" dt="2022-04-07T00:43:03.245" v="788" actId="478"/>
          <ac:picMkLst>
            <pc:docMk/>
            <pc:sldMk cId="766648648" sldId="2300"/>
            <ac:picMk id="16" creationId="{00000000-0000-0000-0000-000000000000}"/>
          </ac:picMkLst>
        </pc:picChg>
      </pc:sldChg>
      <pc:sldChg chg="modNotesTx">
        <pc:chgData name="Bayron Quillay" userId="0b08cc2d-b048-41e2-a83a-291ca51e7f5e" providerId="ADAL" clId="{43905168-391B-4393-9F34-DC37CAA0DDE9}" dt="2022-04-06T19:20:06.958" v="427" actId="20577"/>
        <pc:sldMkLst>
          <pc:docMk/>
          <pc:sldMk cId="1568563768" sldId="2309"/>
        </pc:sldMkLst>
      </pc:sldChg>
      <pc:sldChg chg="modSp mod modNotesTx">
        <pc:chgData name="Bayron Quillay" userId="0b08cc2d-b048-41e2-a83a-291ca51e7f5e" providerId="ADAL" clId="{43905168-391B-4393-9F34-DC37CAA0DDE9}" dt="2022-04-06T19:20:10.711" v="433" actId="20577"/>
        <pc:sldMkLst>
          <pc:docMk/>
          <pc:sldMk cId="3524575018" sldId="2311"/>
        </pc:sldMkLst>
        <pc:spChg chg="mod">
          <ac:chgData name="Bayron Quillay" userId="0b08cc2d-b048-41e2-a83a-291ca51e7f5e" providerId="ADAL" clId="{43905168-391B-4393-9F34-DC37CAA0DDE9}" dt="2022-04-06T19:11:50.349" v="222" actId="20577"/>
          <ac:spMkLst>
            <pc:docMk/>
            <pc:sldMk cId="3524575018" sldId="2311"/>
            <ac:spMk id="2" creationId="{BD4DAA37-32B1-46A8-AD18-9A9CAE34F42E}"/>
          </ac:spMkLst>
        </pc:spChg>
        <pc:graphicFrameChg chg="modGraphic">
          <ac:chgData name="Bayron Quillay" userId="0b08cc2d-b048-41e2-a83a-291ca51e7f5e" providerId="ADAL" clId="{43905168-391B-4393-9F34-DC37CAA0DDE9}" dt="2022-04-06T19:10:07.926" v="208" actId="20577"/>
          <ac:graphicFrameMkLst>
            <pc:docMk/>
            <pc:sldMk cId="3524575018" sldId="2311"/>
            <ac:graphicFrameMk id="6" creationId="{7FF92E71-920E-4736-8E02-F04B046D3057}"/>
          </ac:graphicFrameMkLst>
        </pc:graphicFrameChg>
        <pc:graphicFrameChg chg="modGraphic">
          <ac:chgData name="Bayron Quillay" userId="0b08cc2d-b048-41e2-a83a-291ca51e7f5e" providerId="ADAL" clId="{43905168-391B-4393-9F34-DC37CAA0DDE9}" dt="2022-04-06T19:10:06.150" v="207" actId="20577"/>
          <ac:graphicFrameMkLst>
            <pc:docMk/>
            <pc:sldMk cId="3524575018" sldId="2311"/>
            <ac:graphicFrameMk id="31" creationId="{123D0689-BE48-45E3-9A46-17C973EB3958}"/>
          </ac:graphicFrameMkLst>
        </pc:graphicFrameChg>
        <pc:graphicFrameChg chg="modGraphic">
          <ac:chgData name="Bayron Quillay" userId="0b08cc2d-b048-41e2-a83a-291ca51e7f5e" providerId="ADAL" clId="{43905168-391B-4393-9F34-DC37CAA0DDE9}" dt="2022-04-06T19:11:43.503" v="221" actId="20577"/>
          <ac:graphicFrameMkLst>
            <pc:docMk/>
            <pc:sldMk cId="3524575018" sldId="2311"/>
            <ac:graphicFrameMk id="32" creationId="{95311E04-77D6-4E9B-B940-FBE5E14785CF}"/>
          </ac:graphicFrameMkLst>
        </pc:graphicFrameChg>
      </pc:sldChg>
      <pc:sldChg chg="modSp mod modNotesTx">
        <pc:chgData name="Bayron Quillay" userId="0b08cc2d-b048-41e2-a83a-291ca51e7f5e" providerId="ADAL" clId="{43905168-391B-4393-9F34-DC37CAA0DDE9}" dt="2022-04-06T19:20:14.560" v="439" actId="20577"/>
        <pc:sldMkLst>
          <pc:docMk/>
          <pc:sldMk cId="670677099" sldId="2313"/>
        </pc:sldMkLst>
        <pc:spChg chg="mod">
          <ac:chgData name="Bayron Quillay" userId="0b08cc2d-b048-41e2-a83a-291ca51e7f5e" providerId="ADAL" clId="{43905168-391B-4393-9F34-DC37CAA0DDE9}" dt="2022-04-06T19:16:04.936" v="366" actId="20577"/>
          <ac:spMkLst>
            <pc:docMk/>
            <pc:sldMk cId="670677099" sldId="2313"/>
            <ac:spMk id="85" creationId="{F55C69AE-D692-4C45-A699-088108690C32}"/>
          </ac:spMkLst>
        </pc:spChg>
      </pc:sldChg>
      <pc:sldChg chg="addSp delSp modSp mod modNotesTx">
        <pc:chgData name="Bayron Quillay" userId="0b08cc2d-b048-41e2-a83a-291ca51e7f5e" providerId="ADAL" clId="{43905168-391B-4393-9F34-DC37CAA0DDE9}" dt="2022-04-07T00:35:00.420" v="771" actId="478"/>
        <pc:sldMkLst>
          <pc:docMk/>
          <pc:sldMk cId="187670388" sldId="2314"/>
        </pc:sldMkLst>
        <pc:spChg chg="del">
          <ac:chgData name="Bayron Quillay" userId="0b08cc2d-b048-41e2-a83a-291ca51e7f5e" providerId="ADAL" clId="{43905168-391B-4393-9F34-DC37CAA0DDE9}" dt="2022-04-07T00:34:59.237" v="770" actId="478"/>
          <ac:spMkLst>
            <pc:docMk/>
            <pc:sldMk cId="187670388" sldId="2314"/>
            <ac:spMk id="6" creationId="{4977737A-F13E-4BE9-B972-9185DEA933A2}"/>
          </ac:spMkLst>
        </pc:spChg>
        <pc:spChg chg="del">
          <ac:chgData name="Bayron Quillay" userId="0b08cc2d-b048-41e2-a83a-291ca51e7f5e" providerId="ADAL" clId="{43905168-391B-4393-9F34-DC37CAA0DDE9}" dt="2022-04-07T00:35:00.420" v="771" actId="478"/>
          <ac:spMkLst>
            <pc:docMk/>
            <pc:sldMk cId="187670388" sldId="2314"/>
            <ac:spMk id="24" creationId="{309316CC-EA53-406B-AAAB-B1A8E7DE29B0}"/>
          </ac:spMkLst>
        </pc:spChg>
        <pc:spChg chg="mod">
          <ac:chgData name="Bayron Quillay" userId="0b08cc2d-b048-41e2-a83a-291ca51e7f5e" providerId="ADAL" clId="{43905168-391B-4393-9F34-DC37CAA0DDE9}" dt="2022-04-07T00:20:58.021" v="701" actId="1076"/>
          <ac:spMkLst>
            <pc:docMk/>
            <pc:sldMk cId="187670388" sldId="2314"/>
            <ac:spMk id="42" creationId="{7B45EED8-868A-4A56-89F1-F82A3A981AF9}"/>
          </ac:spMkLst>
        </pc:spChg>
        <pc:spChg chg="mod">
          <ac:chgData name="Bayron Quillay" userId="0b08cc2d-b048-41e2-a83a-291ca51e7f5e" providerId="ADAL" clId="{43905168-391B-4393-9F34-DC37CAA0DDE9}" dt="2022-04-07T00:20:39.950" v="694" actId="14100"/>
          <ac:spMkLst>
            <pc:docMk/>
            <pc:sldMk cId="187670388" sldId="2314"/>
            <ac:spMk id="45" creationId="{82676C72-9090-4D70-8CAB-A76B98CAF3A5}"/>
          </ac:spMkLst>
        </pc:spChg>
        <pc:grpChg chg="add mod">
          <ac:chgData name="Bayron Quillay" userId="0b08cc2d-b048-41e2-a83a-291ca51e7f5e" providerId="ADAL" clId="{43905168-391B-4393-9F34-DC37CAA0DDE9}" dt="2022-04-07T00:21:03.887" v="702" actId="1076"/>
          <ac:grpSpMkLst>
            <pc:docMk/>
            <pc:sldMk cId="187670388" sldId="2314"/>
            <ac:grpSpMk id="40" creationId="{0601724E-1309-41E2-8A67-AAB8142A7B1C}"/>
          </ac:grpSpMkLst>
        </pc:grpChg>
        <pc:grpChg chg="add mod">
          <ac:chgData name="Bayron Quillay" userId="0b08cc2d-b048-41e2-a83a-291ca51e7f5e" providerId="ADAL" clId="{43905168-391B-4393-9F34-DC37CAA0DDE9}" dt="2022-04-07T00:21:25.311" v="705" actId="1076"/>
          <ac:grpSpMkLst>
            <pc:docMk/>
            <pc:sldMk cId="187670388" sldId="2314"/>
            <ac:grpSpMk id="43" creationId="{408FDF9E-D3DE-4024-AED4-82EA45D7ADB9}"/>
          </ac:grpSpMkLst>
        </pc:grpChg>
        <pc:picChg chg="del">
          <ac:chgData name="Bayron Quillay" userId="0b08cc2d-b048-41e2-a83a-291ca51e7f5e" providerId="ADAL" clId="{43905168-391B-4393-9F34-DC37CAA0DDE9}" dt="2022-04-07T00:34:57.317" v="769" actId="478"/>
          <ac:picMkLst>
            <pc:docMk/>
            <pc:sldMk cId="187670388" sldId="2314"/>
            <ac:picMk id="5" creationId="{91249DCE-378B-4E46-92A3-25BB9DC861E5}"/>
          </ac:picMkLst>
        </pc:picChg>
        <pc:picChg chg="add mod">
          <ac:chgData name="Bayron Quillay" userId="0b08cc2d-b048-41e2-a83a-291ca51e7f5e" providerId="ADAL" clId="{43905168-391B-4393-9F34-DC37CAA0DDE9}" dt="2022-04-07T00:20:54.398" v="699" actId="1076"/>
          <ac:picMkLst>
            <pc:docMk/>
            <pc:sldMk cId="187670388" sldId="2314"/>
            <ac:picMk id="12" creationId="{401F3007-3D62-435A-84DB-3E9B397AD636}"/>
          </ac:picMkLst>
        </pc:picChg>
        <pc:picChg chg="add mod">
          <ac:chgData name="Bayron Quillay" userId="0b08cc2d-b048-41e2-a83a-291ca51e7f5e" providerId="ADAL" clId="{43905168-391B-4393-9F34-DC37CAA0DDE9}" dt="2022-04-07T00:21:12.813" v="704" actId="1076"/>
          <ac:picMkLst>
            <pc:docMk/>
            <pc:sldMk cId="187670388" sldId="2314"/>
            <ac:picMk id="14" creationId="{C419C507-C84E-48F4-A611-D5A49A5EBAEE}"/>
          </ac:picMkLst>
        </pc:picChg>
        <pc:picChg chg="del">
          <ac:chgData name="Bayron Quillay" userId="0b08cc2d-b048-41e2-a83a-291ca51e7f5e" providerId="ADAL" clId="{43905168-391B-4393-9F34-DC37CAA0DDE9}" dt="2022-04-07T00:18:53.538" v="576" actId="478"/>
          <ac:picMkLst>
            <pc:docMk/>
            <pc:sldMk cId="187670388" sldId="2314"/>
            <ac:picMk id="4098" creationId="{37CE244E-C7FC-416B-BD45-E941E252C915}"/>
          </ac:picMkLst>
        </pc:picChg>
        <pc:cxnChg chg="mod">
          <ac:chgData name="Bayron Quillay" userId="0b08cc2d-b048-41e2-a83a-291ca51e7f5e" providerId="ADAL" clId="{43905168-391B-4393-9F34-DC37CAA0DDE9}" dt="2022-04-07T00:19:15.330" v="587"/>
          <ac:cxnSpMkLst>
            <pc:docMk/>
            <pc:sldMk cId="187670388" sldId="2314"/>
            <ac:cxnSpMk id="41" creationId="{0B90B323-EE10-469B-9663-6C71DC8B155B}"/>
          </ac:cxnSpMkLst>
        </pc:cxnChg>
        <pc:cxnChg chg="mod">
          <ac:chgData name="Bayron Quillay" userId="0b08cc2d-b048-41e2-a83a-291ca51e7f5e" providerId="ADAL" clId="{43905168-391B-4393-9F34-DC37CAA0DDE9}" dt="2022-04-07T00:20:02.054" v="659"/>
          <ac:cxnSpMkLst>
            <pc:docMk/>
            <pc:sldMk cId="187670388" sldId="2314"/>
            <ac:cxnSpMk id="44" creationId="{A8F809EC-0307-4A0C-B601-B11D7C01C766}"/>
          </ac:cxnSpMkLst>
        </pc:cxnChg>
      </pc:sldChg>
      <pc:sldChg chg="addSp modSp mod modNotesTx">
        <pc:chgData name="Bayron Quillay" userId="0b08cc2d-b048-41e2-a83a-291ca51e7f5e" providerId="ADAL" clId="{43905168-391B-4393-9F34-DC37CAA0DDE9}" dt="2022-04-07T00:49:29.593" v="869" actId="1076"/>
        <pc:sldMkLst>
          <pc:docMk/>
          <pc:sldMk cId="3222638723" sldId="2315"/>
        </pc:sldMkLst>
        <pc:spChg chg="mod">
          <ac:chgData name="Bayron Quillay" userId="0b08cc2d-b048-41e2-a83a-291ca51e7f5e" providerId="ADAL" clId="{43905168-391B-4393-9F34-DC37CAA0DDE9}" dt="2022-04-07T00:48:50.426" v="863" actId="1076"/>
          <ac:spMkLst>
            <pc:docMk/>
            <pc:sldMk cId="3222638723" sldId="2315"/>
            <ac:spMk id="24" creationId="{DF06A048-B13A-4BB6-A9AD-A8206F0B9C07}"/>
          </ac:spMkLst>
        </pc:spChg>
        <pc:spChg chg="mod">
          <ac:chgData name="Bayron Quillay" userId="0b08cc2d-b048-41e2-a83a-291ca51e7f5e" providerId="ADAL" clId="{43905168-391B-4393-9F34-DC37CAA0DDE9}" dt="2022-04-07T00:48:50.426" v="863" actId="1076"/>
          <ac:spMkLst>
            <pc:docMk/>
            <pc:sldMk cId="3222638723" sldId="2315"/>
            <ac:spMk id="56" creationId="{08C75017-E8E6-476E-9AF9-E60F90718170}"/>
          </ac:spMkLst>
        </pc:spChg>
        <pc:spChg chg="mod">
          <ac:chgData name="Bayron Quillay" userId="0b08cc2d-b048-41e2-a83a-291ca51e7f5e" providerId="ADAL" clId="{43905168-391B-4393-9F34-DC37CAA0DDE9}" dt="2022-04-07T00:48:09.645" v="842" actId="1076"/>
          <ac:spMkLst>
            <pc:docMk/>
            <pc:sldMk cId="3222638723" sldId="2315"/>
            <ac:spMk id="61" creationId="{58744675-95D9-4F59-ABD6-B8AD1DE2E668}"/>
          </ac:spMkLst>
        </pc:spChg>
        <pc:spChg chg="mod">
          <ac:chgData name="Bayron Quillay" userId="0b08cc2d-b048-41e2-a83a-291ca51e7f5e" providerId="ADAL" clId="{43905168-391B-4393-9F34-DC37CAA0DDE9}" dt="2022-04-07T00:48:24.913" v="844" actId="1076"/>
          <ac:spMkLst>
            <pc:docMk/>
            <pc:sldMk cId="3222638723" sldId="2315"/>
            <ac:spMk id="62" creationId="{DB081652-54B3-4FDC-8C67-7A02AA3988DC}"/>
          </ac:spMkLst>
        </pc:spChg>
        <pc:spChg chg="add mod">
          <ac:chgData name="Bayron Quillay" userId="0b08cc2d-b048-41e2-a83a-291ca51e7f5e" providerId="ADAL" clId="{43905168-391B-4393-9F34-DC37CAA0DDE9}" dt="2022-04-07T00:49:26.254" v="868" actId="14100"/>
          <ac:spMkLst>
            <pc:docMk/>
            <pc:sldMk cId="3222638723" sldId="2315"/>
            <ac:spMk id="63" creationId="{2A9BC6AE-EAD2-431C-9AD5-930D6032FF9D}"/>
          </ac:spMkLst>
        </pc:spChg>
        <pc:spChg chg="add mod">
          <ac:chgData name="Bayron Quillay" userId="0b08cc2d-b048-41e2-a83a-291ca51e7f5e" providerId="ADAL" clId="{43905168-391B-4393-9F34-DC37CAA0DDE9}" dt="2022-04-07T00:49:04.070" v="864" actId="1076"/>
          <ac:spMkLst>
            <pc:docMk/>
            <pc:sldMk cId="3222638723" sldId="2315"/>
            <ac:spMk id="65" creationId="{F600D007-8C75-4EE8-B337-4786C287107F}"/>
          </ac:spMkLst>
        </pc:spChg>
        <pc:spChg chg="mod">
          <ac:chgData name="Bayron Quillay" userId="0b08cc2d-b048-41e2-a83a-291ca51e7f5e" providerId="ADAL" clId="{43905168-391B-4393-9F34-DC37CAA0DDE9}" dt="2022-04-07T00:48:06.459" v="841" actId="1076"/>
          <ac:spMkLst>
            <pc:docMk/>
            <pc:sldMk cId="3222638723" sldId="2315"/>
            <ac:spMk id="68" creationId="{F0FE3069-4A74-4355-8632-689B6BE01CF0}"/>
          </ac:spMkLst>
        </pc:spChg>
        <pc:spChg chg="mod">
          <ac:chgData name="Bayron Quillay" userId="0b08cc2d-b048-41e2-a83a-291ca51e7f5e" providerId="ADAL" clId="{43905168-391B-4393-9F34-DC37CAA0DDE9}" dt="2022-04-07T00:48:24.913" v="844" actId="1076"/>
          <ac:spMkLst>
            <pc:docMk/>
            <pc:sldMk cId="3222638723" sldId="2315"/>
            <ac:spMk id="69" creationId="{B5892FA7-02DB-44C2-BEA5-2E106E515504}"/>
          </ac:spMkLst>
        </pc:spChg>
        <pc:picChg chg="mod">
          <ac:chgData name="Bayron Quillay" userId="0b08cc2d-b048-41e2-a83a-291ca51e7f5e" providerId="ADAL" clId="{43905168-391B-4393-9F34-DC37CAA0DDE9}" dt="2022-04-07T00:48:50.426" v="863" actId="1076"/>
          <ac:picMkLst>
            <pc:docMk/>
            <pc:sldMk cId="3222638723" sldId="2315"/>
            <ac:picMk id="30" creationId="{9861171F-8B4B-41CA-AEC9-291EF1530C35}"/>
          </ac:picMkLst>
        </pc:picChg>
        <pc:picChg chg="mod">
          <ac:chgData name="Bayron Quillay" userId="0b08cc2d-b048-41e2-a83a-291ca51e7f5e" providerId="ADAL" clId="{43905168-391B-4393-9F34-DC37CAA0DDE9}" dt="2022-04-07T00:49:29.593" v="869" actId="1076"/>
          <ac:picMkLst>
            <pc:docMk/>
            <pc:sldMk cId="3222638723" sldId="2315"/>
            <ac:picMk id="35" creationId="{6B33316B-F3BA-471B-B5E7-4E1856741467}"/>
          </ac:picMkLst>
        </pc:picChg>
        <pc:picChg chg="mod">
          <ac:chgData name="Bayron Quillay" userId="0b08cc2d-b048-41e2-a83a-291ca51e7f5e" providerId="ADAL" clId="{43905168-391B-4393-9F34-DC37CAA0DDE9}" dt="2022-04-07T00:48:24.913" v="844" actId="1076"/>
          <ac:picMkLst>
            <pc:docMk/>
            <pc:sldMk cId="3222638723" sldId="2315"/>
            <ac:picMk id="37" creationId="{4F0E0338-D145-46E3-B231-A52293714D77}"/>
          </ac:picMkLst>
        </pc:picChg>
        <pc:picChg chg="add mod">
          <ac:chgData name="Bayron Quillay" userId="0b08cc2d-b048-41e2-a83a-291ca51e7f5e" providerId="ADAL" clId="{43905168-391B-4393-9F34-DC37CAA0DDE9}" dt="2022-04-07T00:49:19.401" v="867" actId="1076"/>
          <ac:picMkLst>
            <pc:docMk/>
            <pc:sldMk cId="3222638723" sldId="2315"/>
            <ac:picMk id="64" creationId="{AEFED715-0400-4A8A-937D-EF69EEB49D79}"/>
          </ac:picMkLst>
        </pc:picChg>
      </pc:sldChg>
      <pc:sldChg chg="modNotesTx">
        <pc:chgData name="Bayron Quillay" userId="0b08cc2d-b048-41e2-a83a-291ca51e7f5e" providerId="ADAL" clId="{43905168-391B-4393-9F34-DC37CAA0DDE9}" dt="2022-04-06T19:20:22.935" v="444" actId="20577"/>
        <pc:sldMkLst>
          <pc:docMk/>
          <pc:sldMk cId="1931119260" sldId="2316"/>
        </pc:sldMkLst>
      </pc:sldChg>
      <pc:sldChg chg="addSp delSp modSp mod ord modNotesTx">
        <pc:chgData name="Bayron Quillay" userId="0b08cc2d-b048-41e2-a83a-291ca51e7f5e" providerId="ADAL" clId="{43905168-391B-4393-9F34-DC37CAA0DDE9}" dt="2022-04-07T00:09:31.192" v="544" actId="14100"/>
        <pc:sldMkLst>
          <pc:docMk/>
          <pc:sldMk cId="3239226264" sldId="2317"/>
        </pc:sldMkLst>
        <pc:picChg chg="del mod">
          <ac:chgData name="Bayron Quillay" userId="0b08cc2d-b048-41e2-a83a-291ca51e7f5e" providerId="ADAL" clId="{43905168-391B-4393-9F34-DC37CAA0DDE9}" dt="2022-04-07T00:09:26.261" v="543" actId="478"/>
          <ac:picMkLst>
            <pc:docMk/>
            <pc:sldMk cId="3239226264" sldId="2317"/>
            <ac:picMk id="6" creationId="{736FC6B7-A251-4DD7-AF05-FF4EF274C59C}"/>
          </ac:picMkLst>
        </pc:picChg>
        <pc:picChg chg="add mod">
          <ac:chgData name="Bayron Quillay" userId="0b08cc2d-b048-41e2-a83a-291ca51e7f5e" providerId="ADAL" clId="{43905168-391B-4393-9F34-DC37CAA0DDE9}" dt="2022-04-07T00:09:31.192" v="544" actId="14100"/>
          <ac:picMkLst>
            <pc:docMk/>
            <pc:sldMk cId="3239226264" sldId="2317"/>
            <ac:picMk id="7" creationId="{623E2265-7CF3-43BE-B3F4-51CD552E1392}"/>
          </ac:picMkLst>
        </pc:picChg>
      </pc:sldChg>
      <pc:sldChg chg="addSp delSp modSp mod">
        <pc:chgData name="Bayron Quillay" userId="0b08cc2d-b048-41e2-a83a-291ca51e7f5e" providerId="ADAL" clId="{43905168-391B-4393-9F34-DC37CAA0DDE9}" dt="2022-04-07T00:05:58.043" v="512" actId="1076"/>
        <pc:sldMkLst>
          <pc:docMk/>
          <pc:sldMk cId="4290626064" sldId="2321"/>
        </pc:sldMkLst>
        <pc:spChg chg="add del mod">
          <ac:chgData name="Bayron Quillay" userId="0b08cc2d-b048-41e2-a83a-291ca51e7f5e" providerId="ADAL" clId="{43905168-391B-4393-9F34-DC37CAA0DDE9}" dt="2022-04-07T00:05:04.978" v="480"/>
          <ac:spMkLst>
            <pc:docMk/>
            <pc:sldMk cId="4290626064" sldId="2321"/>
            <ac:spMk id="13" creationId="{E0A4CA57-B802-4A76-9165-643E39C4CC3B}"/>
          </ac:spMkLst>
        </pc:spChg>
        <pc:spChg chg="mod">
          <ac:chgData name="Bayron Quillay" userId="0b08cc2d-b048-41e2-a83a-291ca51e7f5e" providerId="ADAL" clId="{43905168-391B-4393-9F34-DC37CAA0DDE9}" dt="2022-04-07T00:05:58.043" v="512" actId="1076"/>
          <ac:spMkLst>
            <pc:docMk/>
            <pc:sldMk cId="4290626064" sldId="2321"/>
            <ac:spMk id="16" creationId="{8D812B4F-8A35-4B61-A868-43FA97F781BC}"/>
          </ac:spMkLst>
        </pc:spChg>
        <pc:grpChg chg="add mod">
          <ac:chgData name="Bayron Quillay" userId="0b08cc2d-b048-41e2-a83a-291ca51e7f5e" providerId="ADAL" clId="{43905168-391B-4393-9F34-DC37CAA0DDE9}" dt="2022-04-07T00:05:40.888" v="485" actId="1076"/>
          <ac:grpSpMkLst>
            <pc:docMk/>
            <pc:sldMk cId="4290626064" sldId="2321"/>
            <ac:grpSpMk id="14" creationId="{7937A194-BBB4-420D-9B63-1F727E3506BA}"/>
          </ac:grpSpMkLst>
        </pc:grpChg>
        <pc:picChg chg="add del mod">
          <ac:chgData name="Bayron Quillay" userId="0b08cc2d-b048-41e2-a83a-291ca51e7f5e" providerId="ADAL" clId="{43905168-391B-4393-9F34-DC37CAA0DDE9}" dt="2022-04-07T00:03:17.492" v="468" actId="1076"/>
          <ac:picMkLst>
            <pc:docMk/>
            <pc:sldMk cId="4290626064" sldId="2321"/>
            <ac:picMk id="6" creationId="{44040F21-5377-40DE-8334-66FDD9073816}"/>
          </ac:picMkLst>
        </pc:picChg>
        <pc:picChg chg="add mod">
          <ac:chgData name="Bayron Quillay" userId="0b08cc2d-b048-41e2-a83a-291ca51e7f5e" providerId="ADAL" clId="{43905168-391B-4393-9F34-DC37CAA0DDE9}" dt="2022-04-07T00:05:24.773" v="483" actId="1076"/>
          <ac:picMkLst>
            <pc:docMk/>
            <pc:sldMk cId="4290626064" sldId="2321"/>
            <ac:picMk id="8" creationId="{52E1BFB1-FE1D-4891-8AB8-7266D8CEA1EA}"/>
          </ac:picMkLst>
        </pc:picChg>
        <pc:cxnChg chg="mod">
          <ac:chgData name="Bayron Quillay" userId="0b08cc2d-b048-41e2-a83a-291ca51e7f5e" providerId="ADAL" clId="{43905168-391B-4393-9F34-DC37CAA0DDE9}" dt="2022-04-07T00:05:10.298" v="481"/>
          <ac:cxnSpMkLst>
            <pc:docMk/>
            <pc:sldMk cId="4290626064" sldId="2321"/>
            <ac:cxnSpMk id="15" creationId="{E6CB3443-0209-4D58-B738-D7954066F193}"/>
          </ac:cxnSpMkLst>
        </pc:cxnChg>
      </pc:sldChg>
      <pc:sldChg chg="addSp modSp new mod">
        <pc:chgData name="Bayron Quillay" userId="0b08cc2d-b048-41e2-a83a-291ca51e7f5e" providerId="ADAL" clId="{43905168-391B-4393-9F34-DC37CAA0DDE9}" dt="2022-04-07T00:08:06.067" v="532" actId="1076"/>
        <pc:sldMkLst>
          <pc:docMk/>
          <pc:sldMk cId="3376830143" sldId="2322"/>
        </pc:sldMkLst>
        <pc:spChg chg="mod">
          <ac:chgData name="Bayron Quillay" userId="0b08cc2d-b048-41e2-a83a-291ca51e7f5e" providerId="ADAL" clId="{43905168-391B-4393-9F34-DC37CAA0DDE9}" dt="2022-04-07T00:08:06.067" v="532" actId="1076"/>
          <ac:spMkLst>
            <pc:docMk/>
            <pc:sldMk cId="3376830143" sldId="2322"/>
            <ac:spMk id="2" creationId="{6122F33D-F8F8-41B4-8578-85AE55F22CD4}"/>
          </ac:spMkLst>
        </pc:spChg>
        <pc:picChg chg="add mod">
          <ac:chgData name="Bayron Quillay" userId="0b08cc2d-b048-41e2-a83a-291ca51e7f5e" providerId="ADAL" clId="{43905168-391B-4393-9F34-DC37CAA0DDE9}" dt="2022-04-07T00:08:00.670" v="531" actId="1076"/>
          <ac:picMkLst>
            <pc:docMk/>
            <pc:sldMk cId="3376830143" sldId="2322"/>
            <ac:picMk id="5" creationId="{5ED3771D-A94E-40D6-B08E-84F251FC9E8D}"/>
          </ac:picMkLst>
        </pc:picChg>
      </pc:sldChg>
      <pc:sldMasterChg chg="modSldLayout">
        <pc:chgData name="Bayron Quillay" userId="0b08cc2d-b048-41e2-a83a-291ca51e7f5e" providerId="ADAL" clId="{43905168-391B-4393-9F34-DC37CAA0DDE9}" dt="2022-04-06T18:57:31.366" v="34" actId="478"/>
        <pc:sldMasterMkLst>
          <pc:docMk/>
          <pc:sldMasterMk cId="3959396539" sldId="2147483672"/>
        </pc:sldMasterMkLst>
        <pc:sldLayoutChg chg="delSp">
          <pc:chgData name="Bayron Quillay" userId="0b08cc2d-b048-41e2-a83a-291ca51e7f5e" providerId="ADAL" clId="{43905168-391B-4393-9F34-DC37CAA0DDE9}" dt="2022-04-06T18:57:31.366" v="34" actId="478"/>
          <pc:sldLayoutMkLst>
            <pc:docMk/>
            <pc:sldMasterMk cId="3959396539" sldId="2147483672"/>
            <pc:sldLayoutMk cId="3227213437" sldId="2147483683"/>
          </pc:sldLayoutMkLst>
          <pc:picChg chg="del">
            <ac:chgData name="Bayron Quillay" userId="0b08cc2d-b048-41e2-a83a-291ca51e7f5e" providerId="ADAL" clId="{43905168-391B-4393-9F34-DC37CAA0DDE9}" dt="2022-04-06T18:57:30.726" v="33" actId="478"/>
            <ac:picMkLst>
              <pc:docMk/>
              <pc:sldMasterMk cId="3959396539" sldId="2147483672"/>
              <pc:sldLayoutMk cId="3227213437" sldId="2147483683"/>
              <ac:picMk id="9" creationId="{DD148A23-A790-4BAC-9D83-33BA16691E4C}"/>
            </ac:picMkLst>
          </pc:picChg>
          <pc:picChg chg="del">
            <ac:chgData name="Bayron Quillay" userId="0b08cc2d-b048-41e2-a83a-291ca51e7f5e" providerId="ADAL" clId="{43905168-391B-4393-9F34-DC37CAA0DDE9}" dt="2022-04-06T18:57:31.366" v="34" actId="478"/>
            <ac:picMkLst>
              <pc:docMk/>
              <pc:sldMasterMk cId="3959396539" sldId="2147483672"/>
              <pc:sldLayoutMk cId="3227213437" sldId="2147483683"/>
              <ac:picMk id="3074" creationId="{C9543BCD-6815-4A2E-A5B1-D1E6B606DF29}"/>
            </ac:picMkLst>
          </pc:picChg>
        </pc:sldLayoutChg>
      </pc:sldMasterChg>
    </pc:docChg>
  </pc:docChgLst>
  <pc:docChgLst>
    <pc:chgData name="Bayron Quillay" userId="0b08cc2d-b048-41e2-a83a-291ca51e7f5e" providerId="ADAL" clId="{621A1D49-3B87-0042-91A1-35582799FB43}"/>
    <pc:docChg chg="undo custSel modSld">
      <pc:chgData name="Bayron Quillay" userId="0b08cc2d-b048-41e2-a83a-291ca51e7f5e" providerId="ADAL" clId="{621A1D49-3B87-0042-91A1-35582799FB43}" dt="2022-04-06T14:16:28.163" v="143" actId="1076"/>
      <pc:docMkLst>
        <pc:docMk/>
      </pc:docMkLst>
      <pc:sldChg chg="addSp delSp modSp">
        <pc:chgData name="Bayron Quillay" userId="0b08cc2d-b048-41e2-a83a-291ca51e7f5e" providerId="ADAL" clId="{621A1D49-3B87-0042-91A1-35582799FB43}" dt="2022-04-06T14:16:28.163" v="143" actId="1076"/>
        <pc:sldMkLst>
          <pc:docMk/>
          <pc:sldMk cId="2296701474" sldId="2299"/>
        </pc:sldMkLst>
        <pc:spChg chg="add del">
          <ac:chgData name="Bayron Quillay" userId="0b08cc2d-b048-41e2-a83a-291ca51e7f5e" providerId="ADAL" clId="{621A1D49-3B87-0042-91A1-35582799FB43}" dt="2022-04-06T14:13:17.321" v="1" actId="139"/>
          <ac:spMkLst>
            <pc:docMk/>
            <pc:sldMk cId="2296701474" sldId="2299"/>
            <ac:spMk id="2" creationId="{F974F68B-F75D-1B47-A400-C2F546815326}"/>
          </ac:spMkLst>
        </pc:spChg>
        <pc:spChg chg="add mod">
          <ac:chgData name="Bayron Quillay" userId="0b08cc2d-b048-41e2-a83a-291ca51e7f5e" providerId="ADAL" clId="{621A1D49-3B87-0042-91A1-35582799FB43}" dt="2022-04-06T14:16:21.918" v="141" actId="1076"/>
          <ac:spMkLst>
            <pc:docMk/>
            <pc:sldMk cId="2296701474" sldId="2299"/>
            <ac:spMk id="3" creationId="{15731CED-DC89-6F44-BDFD-F6636F4F380A}"/>
          </ac:spMkLst>
        </pc:spChg>
        <pc:spChg chg="add del mod">
          <ac:chgData name="Bayron Quillay" userId="0b08cc2d-b048-41e2-a83a-291ca51e7f5e" providerId="ADAL" clId="{621A1D49-3B87-0042-91A1-35582799FB43}" dt="2022-04-06T14:16:24.107" v="142" actId="21"/>
          <ac:spMkLst>
            <pc:docMk/>
            <pc:sldMk cId="2296701474" sldId="2299"/>
            <ac:spMk id="4" creationId="{8442BFB6-0011-EA4A-BDD3-860B43AEE599}"/>
          </ac:spMkLst>
        </pc:spChg>
        <pc:spChg chg="add mod">
          <ac:chgData name="Bayron Quillay" userId="0b08cc2d-b048-41e2-a83a-291ca51e7f5e" providerId="ADAL" clId="{621A1D49-3B87-0042-91A1-35582799FB43}" dt="2022-04-06T14:16:06.427" v="135" actId="1076"/>
          <ac:spMkLst>
            <pc:docMk/>
            <pc:sldMk cId="2296701474" sldId="2299"/>
            <ac:spMk id="5" creationId="{3A422606-DACF-8F47-BD3A-7396B2DBB4EF}"/>
          </ac:spMkLst>
        </pc:spChg>
        <pc:spChg chg="add mod">
          <ac:chgData name="Bayron Quillay" userId="0b08cc2d-b048-41e2-a83a-291ca51e7f5e" providerId="ADAL" clId="{621A1D49-3B87-0042-91A1-35582799FB43}" dt="2022-04-06T14:16:28.163" v="143" actId="1076"/>
          <ac:spMkLst>
            <pc:docMk/>
            <pc:sldMk cId="2296701474" sldId="2299"/>
            <ac:spMk id="8" creationId="{09B26DA9-43DA-CD40-BACE-C79446EEC44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ayro\Downloads\HistoricalData_1649215114570.csv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1:$G$1</c:f>
              <c:numCache>
                <c:formatCode>General</c:formatCode>
                <c:ptCount val="7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</c:numCache>
            </c:numRef>
          </c:cat>
          <c:val>
            <c:numRef>
              <c:f>Sheet1!$A$2:$G$2</c:f>
              <c:numCache>
                <c:formatCode>0.00</c:formatCode>
                <c:ptCount val="7"/>
                <c:pt idx="0" formatCode="General">
                  <c:v>532.62</c:v>
                </c:pt>
                <c:pt idx="1">
                  <c:v>561.91409999999996</c:v>
                </c:pt>
                <c:pt idx="2">
                  <c:v>592.81937549999998</c:v>
                </c:pt>
                <c:pt idx="3">
                  <c:v>625.42444115249998</c:v>
                </c:pt>
                <c:pt idx="4">
                  <c:v>659.82278541588744</c:v>
                </c:pt>
                <c:pt idx="5">
                  <c:v>696.1130386137612</c:v>
                </c:pt>
                <c:pt idx="6">
                  <c:v>734.39925573751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34-4C65-B364-58E88EC55B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99819056"/>
        <c:axId val="299829040"/>
      </c:barChart>
      <c:catAx>
        <c:axId val="299819056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829040"/>
        <c:crosses val="autoZero"/>
        <c:auto val="1"/>
        <c:lblAlgn val="ctr"/>
        <c:lblOffset val="100"/>
        <c:tickMarkSkip val="1"/>
        <c:noMultiLvlLbl val="0"/>
      </c:catAx>
      <c:valAx>
        <c:axId val="29982904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819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v>Volume</c:v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val>
            <c:numRef>
              <c:f>HistoricalData_1649215114570!$H$2:$H$1261</c:f>
              <c:numCache>
                <c:formatCode>General</c:formatCode>
                <c:ptCount val="1260"/>
                <c:pt idx="0">
                  <c:v>6.1133649999999999</c:v>
                </c:pt>
                <c:pt idx="1">
                  <c:v>4.0403409999999997</c:v>
                </c:pt>
                <c:pt idx="2">
                  <c:v>4.3141109999999996</c:v>
                </c:pt>
                <c:pt idx="3">
                  <c:v>5.4328050000000001</c:v>
                </c:pt>
                <c:pt idx="4">
                  <c:v>4.0648569999999999</c:v>
                </c:pt>
                <c:pt idx="5">
                  <c:v>5.126112</c:v>
                </c:pt>
                <c:pt idx="6">
                  <c:v>5.3508889999999996</c:v>
                </c:pt>
                <c:pt idx="7">
                  <c:v>2.8963350000000001</c:v>
                </c:pt>
                <c:pt idx="8">
                  <c:v>4.5057609999999997</c:v>
                </c:pt>
                <c:pt idx="9">
                  <c:v>5.6560379999999997</c:v>
                </c:pt>
                <c:pt idx="10">
                  <c:v>4.4795959999999999</c:v>
                </c:pt>
                <c:pt idx="11">
                  <c:v>4.1352770000000003</c:v>
                </c:pt>
                <c:pt idx="12">
                  <c:v>7.8237860000000001</c:v>
                </c:pt>
                <c:pt idx="13">
                  <c:v>3.998929</c:v>
                </c:pt>
                <c:pt idx="14">
                  <c:v>4.4418329999999999</c:v>
                </c:pt>
                <c:pt idx="15">
                  <c:v>5.0411929999999998</c:v>
                </c:pt>
                <c:pt idx="16">
                  <c:v>5.5275169999999996</c:v>
                </c:pt>
                <c:pt idx="17">
                  <c:v>8.0125709999999994</c:v>
                </c:pt>
                <c:pt idx="18">
                  <c:v>4.3776200000000003</c:v>
                </c:pt>
                <c:pt idx="19">
                  <c:v>5.004766</c:v>
                </c:pt>
                <c:pt idx="20">
                  <c:v>6.6941940000000004</c:v>
                </c:pt>
                <c:pt idx="21">
                  <c:v>6.6320059999999996</c:v>
                </c:pt>
                <c:pt idx="22">
                  <c:v>5.9114940000000002</c:v>
                </c:pt>
                <c:pt idx="23">
                  <c:v>5.223115</c:v>
                </c:pt>
                <c:pt idx="24">
                  <c:v>6.419829</c:v>
                </c:pt>
                <c:pt idx="25">
                  <c:v>6.697813</c:v>
                </c:pt>
                <c:pt idx="26">
                  <c:v>6.8283529999999999</c:v>
                </c:pt>
                <c:pt idx="27">
                  <c:v>5.8376869999999998</c:v>
                </c:pt>
                <c:pt idx="28">
                  <c:v>6.2527410000000003</c:v>
                </c:pt>
                <c:pt idx="29">
                  <c:v>5.1842410000000001</c:v>
                </c:pt>
                <c:pt idx="30">
                  <c:v>8.3727630000000008</c:v>
                </c:pt>
                <c:pt idx="31">
                  <c:v>12.376139999999999</c:v>
                </c:pt>
                <c:pt idx="32">
                  <c:v>3.6883439999999998</c:v>
                </c:pt>
                <c:pt idx="33">
                  <c:v>5.0781729999999996</c:v>
                </c:pt>
                <c:pt idx="34">
                  <c:v>5.297968</c:v>
                </c:pt>
                <c:pt idx="35">
                  <c:v>7.4338769999999998</c:v>
                </c:pt>
                <c:pt idx="36">
                  <c:v>4.8032440000000003</c:v>
                </c:pt>
                <c:pt idx="37">
                  <c:v>5.9177270000000002</c:v>
                </c:pt>
                <c:pt idx="38">
                  <c:v>3.434199</c:v>
                </c:pt>
                <c:pt idx="39">
                  <c:v>3.890854</c:v>
                </c:pt>
                <c:pt idx="40">
                  <c:v>4.0352399999999999</c:v>
                </c:pt>
                <c:pt idx="41">
                  <c:v>4.1496829999999996</c:v>
                </c:pt>
                <c:pt idx="42">
                  <c:v>5.6135469999999996</c:v>
                </c:pt>
                <c:pt idx="43">
                  <c:v>7.450501</c:v>
                </c:pt>
                <c:pt idx="44">
                  <c:v>5.6020130000000004</c:v>
                </c:pt>
                <c:pt idx="45">
                  <c:v>7.21014</c:v>
                </c:pt>
                <c:pt idx="46">
                  <c:v>8.286467</c:v>
                </c:pt>
                <c:pt idx="47">
                  <c:v>9.1801340000000007</c:v>
                </c:pt>
                <c:pt idx="48">
                  <c:v>14.7531</c:v>
                </c:pt>
                <c:pt idx="49">
                  <c:v>9.1266200000000008</c:v>
                </c:pt>
                <c:pt idx="50">
                  <c:v>10.86871</c:v>
                </c:pt>
                <c:pt idx="51">
                  <c:v>10.132680000000001</c:v>
                </c:pt>
                <c:pt idx="52">
                  <c:v>8.6525689999999997</c:v>
                </c:pt>
                <c:pt idx="53">
                  <c:v>3.9963959999999998</c:v>
                </c:pt>
                <c:pt idx="54">
                  <c:v>5.8508420000000001</c:v>
                </c:pt>
                <c:pt idx="55">
                  <c:v>9.2568730000000006</c:v>
                </c:pt>
                <c:pt idx="56">
                  <c:v>7.1745380000000001</c:v>
                </c:pt>
                <c:pt idx="57">
                  <c:v>8.41601</c:v>
                </c:pt>
                <c:pt idx="58">
                  <c:v>5.7094149999999999</c:v>
                </c:pt>
                <c:pt idx="59">
                  <c:v>5.9756330000000002</c:v>
                </c:pt>
                <c:pt idx="60">
                  <c:v>4.367483</c:v>
                </c:pt>
                <c:pt idx="61">
                  <c:v>5.7102269999999997</c:v>
                </c:pt>
                <c:pt idx="62">
                  <c:v>5.948372</c:v>
                </c:pt>
                <c:pt idx="63">
                  <c:v>8.2412220000000005</c:v>
                </c:pt>
                <c:pt idx="64">
                  <c:v>6.6924330000000003</c:v>
                </c:pt>
                <c:pt idx="65">
                  <c:v>3.2717559999999999</c:v>
                </c:pt>
                <c:pt idx="66">
                  <c:v>2.8091200000000001</c:v>
                </c:pt>
                <c:pt idx="67">
                  <c:v>2.848992</c:v>
                </c:pt>
                <c:pt idx="68">
                  <c:v>3.298743</c:v>
                </c:pt>
                <c:pt idx="69">
                  <c:v>3.8025920000000002</c:v>
                </c:pt>
                <c:pt idx="70">
                  <c:v>3.4920520000000002</c:v>
                </c:pt>
                <c:pt idx="71">
                  <c:v>6.7688680000000003</c:v>
                </c:pt>
                <c:pt idx="72">
                  <c:v>7.1538269999999997</c:v>
                </c:pt>
                <c:pt idx="73">
                  <c:v>6.5014329999999996</c:v>
                </c:pt>
                <c:pt idx="74">
                  <c:v>12.156219999999999</c:v>
                </c:pt>
                <c:pt idx="75">
                  <c:v>6.9840499999999999</c:v>
                </c:pt>
                <c:pt idx="76">
                  <c:v>6.4224579999999998</c:v>
                </c:pt>
                <c:pt idx="77">
                  <c:v>8.1933209999999992</c:v>
                </c:pt>
                <c:pt idx="78">
                  <c:v>5.0948330000000004</c:v>
                </c:pt>
                <c:pt idx="79">
                  <c:v>4.3717969999999999</c:v>
                </c:pt>
                <c:pt idx="80">
                  <c:v>2.663411</c:v>
                </c:pt>
                <c:pt idx="81">
                  <c:v>5.3894099999999998</c:v>
                </c:pt>
                <c:pt idx="82">
                  <c:v>5.1435969999999998</c:v>
                </c:pt>
                <c:pt idx="83">
                  <c:v>6.6018400000000002</c:v>
                </c:pt>
                <c:pt idx="84">
                  <c:v>5.2546099999999996</c:v>
                </c:pt>
                <c:pt idx="85">
                  <c:v>5.0909820000000003</c:v>
                </c:pt>
                <c:pt idx="86">
                  <c:v>4.8168740000000003</c:v>
                </c:pt>
                <c:pt idx="87">
                  <c:v>7.2701719999999996</c:v>
                </c:pt>
                <c:pt idx="88">
                  <c:v>5.6483249999999998</c:v>
                </c:pt>
                <c:pt idx="89">
                  <c:v>4.6713500000000003</c:v>
                </c:pt>
                <c:pt idx="90">
                  <c:v>3.729581</c:v>
                </c:pt>
                <c:pt idx="91">
                  <c:v>4.8737300000000001</c:v>
                </c:pt>
                <c:pt idx="92">
                  <c:v>4.2056550000000001</c:v>
                </c:pt>
                <c:pt idx="93">
                  <c:v>6.8676810000000001</c:v>
                </c:pt>
                <c:pt idx="94">
                  <c:v>4.4670009999999998</c:v>
                </c:pt>
                <c:pt idx="95">
                  <c:v>4.7598900000000004</c:v>
                </c:pt>
                <c:pt idx="96">
                  <c:v>4.1413219999999997</c:v>
                </c:pt>
                <c:pt idx="97">
                  <c:v>4.5659409999999996</c:v>
                </c:pt>
                <c:pt idx="98">
                  <c:v>6.4622159999999997</c:v>
                </c:pt>
                <c:pt idx="99">
                  <c:v>5.0548209999999996</c:v>
                </c:pt>
                <c:pt idx="100">
                  <c:v>5.3589310000000001</c:v>
                </c:pt>
                <c:pt idx="101">
                  <c:v>5.1304309999999997</c:v>
                </c:pt>
                <c:pt idx="102">
                  <c:v>4.9299759999999999</c:v>
                </c:pt>
                <c:pt idx="103">
                  <c:v>7.9899290000000001</c:v>
                </c:pt>
                <c:pt idx="104">
                  <c:v>4.6758940000000004</c:v>
                </c:pt>
                <c:pt idx="105">
                  <c:v>5.1106420000000004</c:v>
                </c:pt>
                <c:pt idx="106">
                  <c:v>8.0699480000000001</c:v>
                </c:pt>
                <c:pt idx="107">
                  <c:v>3.4948220000000001</c:v>
                </c:pt>
                <c:pt idx="108">
                  <c:v>4.6923219999999999</c:v>
                </c:pt>
                <c:pt idx="109">
                  <c:v>3.6455160000000002</c:v>
                </c:pt>
                <c:pt idx="110">
                  <c:v>4.128838</c:v>
                </c:pt>
                <c:pt idx="111">
                  <c:v>3.9940039999999999</c:v>
                </c:pt>
                <c:pt idx="112">
                  <c:v>4.4270339999999999</c:v>
                </c:pt>
                <c:pt idx="113">
                  <c:v>5.742356</c:v>
                </c:pt>
                <c:pt idx="114">
                  <c:v>4.9842940000000002</c:v>
                </c:pt>
                <c:pt idx="115">
                  <c:v>8.4018630000000005</c:v>
                </c:pt>
                <c:pt idx="116">
                  <c:v>5.8799580000000002</c:v>
                </c:pt>
                <c:pt idx="117">
                  <c:v>5.2758250000000002</c:v>
                </c:pt>
                <c:pt idx="118">
                  <c:v>6.0126390000000001</c:v>
                </c:pt>
                <c:pt idx="119">
                  <c:v>4.9778979999999997</c:v>
                </c:pt>
                <c:pt idx="120">
                  <c:v>3.9354179999999999</c:v>
                </c:pt>
                <c:pt idx="121">
                  <c:v>4.5995200000000001</c:v>
                </c:pt>
                <c:pt idx="122">
                  <c:v>3.873246</c:v>
                </c:pt>
                <c:pt idx="123">
                  <c:v>7.193308</c:v>
                </c:pt>
                <c:pt idx="124">
                  <c:v>4.5058170000000004</c:v>
                </c:pt>
                <c:pt idx="125">
                  <c:v>5.4988590000000004</c:v>
                </c:pt>
                <c:pt idx="126">
                  <c:v>4.2383689999999996</c:v>
                </c:pt>
                <c:pt idx="127">
                  <c:v>5.9035589999999996</c:v>
                </c:pt>
                <c:pt idx="128">
                  <c:v>8.1732040000000001</c:v>
                </c:pt>
                <c:pt idx="129">
                  <c:v>4.786219</c:v>
                </c:pt>
                <c:pt idx="130">
                  <c:v>4.511387</c:v>
                </c:pt>
                <c:pt idx="131">
                  <c:v>5.8551989999999998</c:v>
                </c:pt>
                <c:pt idx="132">
                  <c:v>6.4811509999999997</c:v>
                </c:pt>
                <c:pt idx="133">
                  <c:v>3.045957</c:v>
                </c:pt>
                <c:pt idx="134">
                  <c:v>4.161505</c:v>
                </c:pt>
                <c:pt idx="135">
                  <c:v>6.5533960000000002</c:v>
                </c:pt>
                <c:pt idx="136">
                  <c:v>4.9187880000000002</c:v>
                </c:pt>
                <c:pt idx="137">
                  <c:v>5.2621779999999996</c:v>
                </c:pt>
                <c:pt idx="138">
                  <c:v>10.046200000000001</c:v>
                </c:pt>
                <c:pt idx="139">
                  <c:v>3.3173409999999999</c:v>
                </c:pt>
                <c:pt idx="140">
                  <c:v>4.8031629999999996</c:v>
                </c:pt>
                <c:pt idx="141">
                  <c:v>4.1973940000000001</c:v>
                </c:pt>
                <c:pt idx="142">
                  <c:v>5.8109830000000002</c:v>
                </c:pt>
                <c:pt idx="143">
                  <c:v>4.1273920000000004</c:v>
                </c:pt>
                <c:pt idx="144">
                  <c:v>4.5469150000000003</c:v>
                </c:pt>
                <c:pt idx="145">
                  <c:v>3.1213410000000001</c:v>
                </c:pt>
                <c:pt idx="146">
                  <c:v>2.7656610000000001</c:v>
                </c:pt>
                <c:pt idx="147">
                  <c:v>2.46339</c:v>
                </c:pt>
                <c:pt idx="148">
                  <c:v>3.4035489999999999</c:v>
                </c:pt>
                <c:pt idx="149">
                  <c:v>3.484461</c:v>
                </c:pt>
                <c:pt idx="150">
                  <c:v>6.1903969999999999</c:v>
                </c:pt>
                <c:pt idx="151">
                  <c:v>3.1518419999999998</c:v>
                </c:pt>
                <c:pt idx="152">
                  <c:v>4.0944750000000001</c:v>
                </c:pt>
                <c:pt idx="153">
                  <c:v>3.9918719999999999</c:v>
                </c:pt>
                <c:pt idx="154">
                  <c:v>4.3790380000000004</c:v>
                </c:pt>
                <c:pt idx="155">
                  <c:v>3.94597</c:v>
                </c:pt>
                <c:pt idx="156">
                  <c:v>3.9069289999999999</c:v>
                </c:pt>
                <c:pt idx="157">
                  <c:v>5.4857779999999998</c:v>
                </c:pt>
                <c:pt idx="158">
                  <c:v>4.2838260000000004</c:v>
                </c:pt>
                <c:pt idx="159">
                  <c:v>3.5851540000000002</c:v>
                </c:pt>
                <c:pt idx="160">
                  <c:v>4.6097260000000002</c:v>
                </c:pt>
                <c:pt idx="161">
                  <c:v>4.6026319999999998</c:v>
                </c:pt>
                <c:pt idx="162">
                  <c:v>3.4765929999999998</c:v>
                </c:pt>
                <c:pt idx="163">
                  <c:v>3.0236619999999998</c:v>
                </c:pt>
                <c:pt idx="164">
                  <c:v>3.6831239999999998</c:v>
                </c:pt>
                <c:pt idx="165">
                  <c:v>4.3570520000000004</c:v>
                </c:pt>
                <c:pt idx="166">
                  <c:v>4.2712950000000003</c:v>
                </c:pt>
                <c:pt idx="167">
                  <c:v>3.550297</c:v>
                </c:pt>
                <c:pt idx="168">
                  <c:v>3.2580740000000001</c:v>
                </c:pt>
                <c:pt idx="169">
                  <c:v>3.513439</c:v>
                </c:pt>
                <c:pt idx="170">
                  <c:v>3.696418</c:v>
                </c:pt>
                <c:pt idx="171">
                  <c:v>3.6460880000000002</c:v>
                </c:pt>
                <c:pt idx="172">
                  <c:v>4.6888449999999997</c:v>
                </c:pt>
                <c:pt idx="173">
                  <c:v>3.9255559999999998</c:v>
                </c:pt>
                <c:pt idx="174">
                  <c:v>3.7961369999999999</c:v>
                </c:pt>
                <c:pt idx="175">
                  <c:v>5.6310019999999996</c:v>
                </c:pt>
                <c:pt idx="176">
                  <c:v>4.9550539999999996</c:v>
                </c:pt>
                <c:pt idx="177">
                  <c:v>4.7363479999999996</c:v>
                </c:pt>
                <c:pt idx="178">
                  <c:v>6.9581359999999997</c:v>
                </c:pt>
                <c:pt idx="179">
                  <c:v>4.2853199999999996</c:v>
                </c:pt>
                <c:pt idx="180">
                  <c:v>4.6785199999999998</c:v>
                </c:pt>
                <c:pt idx="181">
                  <c:v>6.7396770000000004</c:v>
                </c:pt>
                <c:pt idx="182">
                  <c:v>3.9776829999999999</c:v>
                </c:pt>
                <c:pt idx="183">
                  <c:v>5.7615420000000004</c:v>
                </c:pt>
                <c:pt idx="184">
                  <c:v>4.6606189999999996</c:v>
                </c:pt>
                <c:pt idx="185">
                  <c:v>3.8770950000000002</c:v>
                </c:pt>
                <c:pt idx="186">
                  <c:v>3.9052699999999998</c:v>
                </c:pt>
                <c:pt idx="187">
                  <c:v>4.3535919999999999</c:v>
                </c:pt>
                <c:pt idx="188">
                  <c:v>3.908992</c:v>
                </c:pt>
                <c:pt idx="189">
                  <c:v>4.068676</c:v>
                </c:pt>
                <c:pt idx="190">
                  <c:v>5.0404770000000001</c:v>
                </c:pt>
                <c:pt idx="191">
                  <c:v>4.7872919999999999</c:v>
                </c:pt>
                <c:pt idx="192">
                  <c:v>4.7396399999999996</c:v>
                </c:pt>
                <c:pt idx="193">
                  <c:v>5.8448770000000003</c:v>
                </c:pt>
                <c:pt idx="194">
                  <c:v>8.1502829999999999</c:v>
                </c:pt>
                <c:pt idx="195">
                  <c:v>9.5672879999999996</c:v>
                </c:pt>
                <c:pt idx="196">
                  <c:v>8.7504390000000001</c:v>
                </c:pt>
                <c:pt idx="197">
                  <c:v>9.7185760000000005</c:v>
                </c:pt>
                <c:pt idx="198">
                  <c:v>4.356141</c:v>
                </c:pt>
                <c:pt idx="199">
                  <c:v>6.5194010000000002</c:v>
                </c:pt>
                <c:pt idx="200">
                  <c:v>4.743614</c:v>
                </c:pt>
                <c:pt idx="201">
                  <c:v>8.8321229999999993</c:v>
                </c:pt>
                <c:pt idx="202">
                  <c:v>5.967581</c:v>
                </c:pt>
                <c:pt idx="203">
                  <c:v>7.0515239999999997</c:v>
                </c:pt>
                <c:pt idx="204">
                  <c:v>5.3987860000000003</c:v>
                </c:pt>
                <c:pt idx="205">
                  <c:v>4.888693</c:v>
                </c:pt>
                <c:pt idx="206">
                  <c:v>6.5174899999999996</c:v>
                </c:pt>
                <c:pt idx="207">
                  <c:v>8.0127220000000001</c:v>
                </c:pt>
                <c:pt idx="208">
                  <c:v>13.78037</c:v>
                </c:pt>
                <c:pt idx="209">
                  <c:v>8.1739479999999993</c:v>
                </c:pt>
                <c:pt idx="210">
                  <c:v>7.9335719999999998</c:v>
                </c:pt>
                <c:pt idx="211">
                  <c:v>7.1972329999999998</c:v>
                </c:pt>
                <c:pt idx="212">
                  <c:v>12.11795</c:v>
                </c:pt>
                <c:pt idx="213">
                  <c:v>19.21508</c:v>
                </c:pt>
                <c:pt idx="214">
                  <c:v>25.12406</c:v>
                </c:pt>
                <c:pt idx="215">
                  <c:v>4.8131060000000003</c:v>
                </c:pt>
                <c:pt idx="216">
                  <c:v>10.358930000000001</c:v>
                </c:pt>
                <c:pt idx="217">
                  <c:v>6.6931159999999998</c:v>
                </c:pt>
                <c:pt idx="218">
                  <c:v>4.7045409999999999</c:v>
                </c:pt>
                <c:pt idx="219">
                  <c:v>3.0959910000000002</c:v>
                </c:pt>
                <c:pt idx="220">
                  <c:v>4.6293480000000002</c:v>
                </c:pt>
                <c:pt idx="221">
                  <c:v>2.8582960000000002</c:v>
                </c:pt>
                <c:pt idx="222">
                  <c:v>3.4307789999999998</c:v>
                </c:pt>
                <c:pt idx="223">
                  <c:v>3.3984380000000001</c:v>
                </c:pt>
                <c:pt idx="224">
                  <c:v>3.7323789999999999</c:v>
                </c:pt>
                <c:pt idx="225">
                  <c:v>3.800475</c:v>
                </c:pt>
                <c:pt idx="226">
                  <c:v>4.5196519999999998</c:v>
                </c:pt>
                <c:pt idx="227">
                  <c:v>4.745641</c:v>
                </c:pt>
                <c:pt idx="228">
                  <c:v>5.5207610000000003</c:v>
                </c:pt>
                <c:pt idx="229">
                  <c:v>3.9232109999999998</c:v>
                </c:pt>
                <c:pt idx="230">
                  <c:v>4.0766730000000004</c:v>
                </c:pt>
                <c:pt idx="231">
                  <c:v>4.3056469999999996</c:v>
                </c:pt>
                <c:pt idx="232">
                  <c:v>4.0613210000000004</c:v>
                </c:pt>
                <c:pt idx="233">
                  <c:v>9.2218210000000003</c:v>
                </c:pt>
                <c:pt idx="234">
                  <c:v>4.9175760000000004</c:v>
                </c:pt>
                <c:pt idx="235">
                  <c:v>4.7734779999999999</c:v>
                </c:pt>
                <c:pt idx="236">
                  <c:v>3.889176</c:v>
                </c:pt>
                <c:pt idx="237">
                  <c:v>3.7558739999999999</c:v>
                </c:pt>
                <c:pt idx="238">
                  <c:v>3.3849749999999998</c:v>
                </c:pt>
                <c:pt idx="239">
                  <c:v>4.3774540000000002</c:v>
                </c:pt>
                <c:pt idx="240">
                  <c:v>5.2270149999999997</c:v>
                </c:pt>
                <c:pt idx="241">
                  <c:v>6.3669260000000003</c:v>
                </c:pt>
                <c:pt idx="242">
                  <c:v>7.0404499999999999</c:v>
                </c:pt>
                <c:pt idx="243">
                  <c:v>9.9082129999999999</c:v>
                </c:pt>
                <c:pt idx="244">
                  <c:v>6.8530819999999997</c:v>
                </c:pt>
                <c:pt idx="245">
                  <c:v>6.2430680000000001</c:v>
                </c:pt>
                <c:pt idx="246">
                  <c:v>4.5108940000000004</c:v>
                </c:pt>
                <c:pt idx="247">
                  <c:v>4.7267340000000004</c:v>
                </c:pt>
                <c:pt idx="248">
                  <c:v>4.9445690000000004</c:v>
                </c:pt>
                <c:pt idx="249">
                  <c:v>2.915975</c:v>
                </c:pt>
                <c:pt idx="250">
                  <c:v>4.1025010000000002</c:v>
                </c:pt>
                <c:pt idx="251">
                  <c:v>3.76884</c:v>
                </c:pt>
                <c:pt idx="252">
                  <c:v>4.3130189999999997</c:v>
                </c:pt>
                <c:pt idx="253">
                  <c:v>5.1463950000000001</c:v>
                </c:pt>
                <c:pt idx="254">
                  <c:v>6.3146129999999996</c:v>
                </c:pt>
                <c:pt idx="255">
                  <c:v>4.0152650000000003</c:v>
                </c:pt>
                <c:pt idx="256">
                  <c:v>5.7928300000000004</c:v>
                </c:pt>
                <c:pt idx="257">
                  <c:v>5.0544130000000003</c:v>
                </c:pt>
                <c:pt idx="258">
                  <c:v>4.8101029999999998</c:v>
                </c:pt>
                <c:pt idx="259">
                  <c:v>4.8571</c:v>
                </c:pt>
                <c:pt idx="260">
                  <c:v>5.3200609999999999</c:v>
                </c:pt>
                <c:pt idx="261">
                  <c:v>6.5214049999999997</c:v>
                </c:pt>
                <c:pt idx="262">
                  <c:v>3.7885849999999999</c:v>
                </c:pt>
                <c:pt idx="263">
                  <c:v>5.1731540000000003</c:v>
                </c:pt>
                <c:pt idx="264">
                  <c:v>11.275169999999999</c:v>
                </c:pt>
                <c:pt idx="265">
                  <c:v>4.253018</c:v>
                </c:pt>
                <c:pt idx="266">
                  <c:v>3.7972480000000002</c:v>
                </c:pt>
                <c:pt idx="267">
                  <c:v>3.8705059999999998</c:v>
                </c:pt>
                <c:pt idx="268">
                  <c:v>4.6521290000000004</c:v>
                </c:pt>
                <c:pt idx="269">
                  <c:v>3.7140339999999998</c:v>
                </c:pt>
                <c:pt idx="270">
                  <c:v>4.9157099999999998</c:v>
                </c:pt>
                <c:pt idx="271">
                  <c:v>7.6404519999999998</c:v>
                </c:pt>
                <c:pt idx="272">
                  <c:v>5.1761100000000004</c:v>
                </c:pt>
                <c:pt idx="273">
                  <c:v>3.9315660000000001</c:v>
                </c:pt>
                <c:pt idx="274">
                  <c:v>4.8595249999999997</c:v>
                </c:pt>
                <c:pt idx="275">
                  <c:v>6.69963</c:v>
                </c:pt>
                <c:pt idx="276">
                  <c:v>5.2395870000000002</c:v>
                </c:pt>
                <c:pt idx="277">
                  <c:v>4.9082150000000002</c:v>
                </c:pt>
                <c:pt idx="278">
                  <c:v>3.8591950000000002</c:v>
                </c:pt>
                <c:pt idx="279">
                  <c:v>5.1976810000000002</c:v>
                </c:pt>
                <c:pt idx="280">
                  <c:v>3.4688720000000002</c:v>
                </c:pt>
                <c:pt idx="281">
                  <c:v>4.1275240000000002</c:v>
                </c:pt>
                <c:pt idx="282">
                  <c:v>5.5660639999999999</c:v>
                </c:pt>
                <c:pt idx="283">
                  <c:v>4.8421900000000004</c:v>
                </c:pt>
                <c:pt idx="284">
                  <c:v>6.2042060000000001</c:v>
                </c:pt>
                <c:pt idx="285">
                  <c:v>5.4350120000000004</c:v>
                </c:pt>
                <c:pt idx="286">
                  <c:v>3.1620430000000002</c:v>
                </c:pt>
                <c:pt idx="287">
                  <c:v>5.1740339999999998</c:v>
                </c:pt>
                <c:pt idx="288">
                  <c:v>3.6588310000000002</c:v>
                </c:pt>
                <c:pt idx="289">
                  <c:v>3.6974230000000001</c:v>
                </c:pt>
                <c:pt idx="290">
                  <c:v>4.1957040000000001</c:v>
                </c:pt>
                <c:pt idx="291">
                  <c:v>3.4245239999999999</c:v>
                </c:pt>
                <c:pt idx="292">
                  <c:v>3.456083</c:v>
                </c:pt>
                <c:pt idx="293">
                  <c:v>5.8035959999999998</c:v>
                </c:pt>
                <c:pt idx="294">
                  <c:v>4.3779820000000003</c:v>
                </c:pt>
                <c:pt idx="295">
                  <c:v>4.9920309999999999</c:v>
                </c:pt>
                <c:pt idx="296">
                  <c:v>7.2769599999999999</c:v>
                </c:pt>
                <c:pt idx="297">
                  <c:v>8.3371309999999994</c:v>
                </c:pt>
                <c:pt idx="298">
                  <c:v>10.99535</c:v>
                </c:pt>
                <c:pt idx="299">
                  <c:v>11.296279999999999</c:v>
                </c:pt>
                <c:pt idx="300">
                  <c:v>9.1049070000000007</c:v>
                </c:pt>
                <c:pt idx="301">
                  <c:v>4.1423730000000001</c:v>
                </c:pt>
                <c:pt idx="302">
                  <c:v>4.6892560000000003</c:v>
                </c:pt>
                <c:pt idx="303">
                  <c:v>4.1639049999999997</c:v>
                </c:pt>
                <c:pt idx="304">
                  <c:v>5.0280680000000002</c:v>
                </c:pt>
                <c:pt idx="305">
                  <c:v>2.9523250000000001</c:v>
                </c:pt>
                <c:pt idx="306">
                  <c:v>6.8203279999999999</c:v>
                </c:pt>
                <c:pt idx="307">
                  <c:v>4.4801729999999997</c:v>
                </c:pt>
                <c:pt idx="308">
                  <c:v>4.3913489999999999</c:v>
                </c:pt>
                <c:pt idx="309">
                  <c:v>6.0471060000000003</c:v>
                </c:pt>
                <c:pt idx="310">
                  <c:v>5.7773859999999999</c:v>
                </c:pt>
                <c:pt idx="311">
                  <c:v>3.1777359999999999</c:v>
                </c:pt>
                <c:pt idx="312">
                  <c:v>4.2421600000000002</c:v>
                </c:pt>
                <c:pt idx="313">
                  <c:v>5.5689000000000002</c:v>
                </c:pt>
                <c:pt idx="314">
                  <c:v>5.539612</c:v>
                </c:pt>
                <c:pt idx="315">
                  <c:v>4.3231260000000002</c:v>
                </c:pt>
                <c:pt idx="316">
                  <c:v>6.192221</c:v>
                </c:pt>
                <c:pt idx="317">
                  <c:v>2.9822449999999998</c:v>
                </c:pt>
                <c:pt idx="318">
                  <c:v>2.4161039999999998</c:v>
                </c:pt>
                <c:pt idx="319">
                  <c:v>2.834686</c:v>
                </c:pt>
                <c:pt idx="320">
                  <c:v>2.034386</c:v>
                </c:pt>
                <c:pt idx="321">
                  <c:v>1.451492</c:v>
                </c:pt>
                <c:pt idx="322">
                  <c:v>3.1496900000000001</c:v>
                </c:pt>
                <c:pt idx="323">
                  <c:v>3.4266489999999998</c:v>
                </c:pt>
                <c:pt idx="324">
                  <c:v>4.5442739999999997</c:v>
                </c:pt>
                <c:pt idx="325">
                  <c:v>10.669779999999999</c:v>
                </c:pt>
                <c:pt idx="326">
                  <c:v>3.924302</c:v>
                </c:pt>
                <c:pt idx="327">
                  <c:v>4.4587209999999997</c:v>
                </c:pt>
                <c:pt idx="328">
                  <c:v>5.2568429999999999</c:v>
                </c:pt>
                <c:pt idx="329">
                  <c:v>6.2500410000000004</c:v>
                </c:pt>
                <c:pt idx="330">
                  <c:v>4.7189949999999996</c:v>
                </c:pt>
                <c:pt idx="331">
                  <c:v>4.8286150000000001</c:v>
                </c:pt>
                <c:pt idx="332">
                  <c:v>5.7424460000000002</c:v>
                </c:pt>
                <c:pt idx="333">
                  <c:v>6.6435979999999999</c:v>
                </c:pt>
                <c:pt idx="334">
                  <c:v>6.9280109999999997</c:v>
                </c:pt>
                <c:pt idx="335">
                  <c:v>4.6870479999999999</c:v>
                </c:pt>
                <c:pt idx="336">
                  <c:v>3.8463630000000002</c:v>
                </c:pt>
                <c:pt idx="337">
                  <c:v>3.4448919999999998</c:v>
                </c:pt>
                <c:pt idx="338">
                  <c:v>4.2653100000000004</c:v>
                </c:pt>
                <c:pt idx="339">
                  <c:v>5.7023270000000004</c:v>
                </c:pt>
                <c:pt idx="340">
                  <c:v>1.979001</c:v>
                </c:pt>
                <c:pt idx="341">
                  <c:v>6.2241410000000004</c:v>
                </c:pt>
                <c:pt idx="342">
                  <c:v>7.3172370000000004</c:v>
                </c:pt>
                <c:pt idx="343">
                  <c:v>4.1060699999999999</c:v>
                </c:pt>
                <c:pt idx="344">
                  <c:v>4.0752449999999998</c:v>
                </c:pt>
                <c:pt idx="345">
                  <c:v>3.5481440000000002</c:v>
                </c:pt>
                <c:pt idx="346">
                  <c:v>4.545668</c:v>
                </c:pt>
                <c:pt idx="347">
                  <c:v>3.7931370000000002</c:v>
                </c:pt>
                <c:pt idx="348">
                  <c:v>4.1448619999999998</c:v>
                </c:pt>
                <c:pt idx="349">
                  <c:v>3.9190700000000001</c:v>
                </c:pt>
                <c:pt idx="350">
                  <c:v>2.817539</c:v>
                </c:pt>
                <c:pt idx="351">
                  <c:v>3.994005</c:v>
                </c:pt>
                <c:pt idx="352">
                  <c:v>5.2436499999999997</c:v>
                </c:pt>
                <c:pt idx="353">
                  <c:v>13.99071</c:v>
                </c:pt>
                <c:pt idx="354">
                  <c:v>5.6444859999999997</c:v>
                </c:pt>
                <c:pt idx="355">
                  <c:v>5.139894</c:v>
                </c:pt>
                <c:pt idx="356">
                  <c:v>7.4212109999999996</c:v>
                </c:pt>
                <c:pt idx="357">
                  <c:v>3.8700909999999999</c:v>
                </c:pt>
                <c:pt idx="358">
                  <c:v>5.9070619999999998</c:v>
                </c:pt>
                <c:pt idx="359">
                  <c:v>4.4346399999999999</c:v>
                </c:pt>
                <c:pt idx="360">
                  <c:v>4.237622</c:v>
                </c:pt>
                <c:pt idx="361">
                  <c:v>7.1049389999999999</c:v>
                </c:pt>
                <c:pt idx="362">
                  <c:v>4.5180490000000004</c:v>
                </c:pt>
                <c:pt idx="363">
                  <c:v>7.2979580000000004</c:v>
                </c:pt>
                <c:pt idx="364">
                  <c:v>3.573013</c:v>
                </c:pt>
                <c:pt idx="365">
                  <c:v>4.9542799999999998</c:v>
                </c:pt>
                <c:pt idx="366">
                  <c:v>5.7160070000000003</c:v>
                </c:pt>
                <c:pt idx="367">
                  <c:v>3.8735040000000001</c:v>
                </c:pt>
                <c:pt idx="368">
                  <c:v>4.2285149999999998</c:v>
                </c:pt>
                <c:pt idx="369">
                  <c:v>4.363766</c:v>
                </c:pt>
                <c:pt idx="370">
                  <c:v>3.5189870000000001</c:v>
                </c:pt>
                <c:pt idx="371">
                  <c:v>4.1919029999999999</c:v>
                </c:pt>
                <c:pt idx="372">
                  <c:v>4.773555</c:v>
                </c:pt>
                <c:pt idx="373">
                  <c:v>4.2018190000000004</c:v>
                </c:pt>
                <c:pt idx="374">
                  <c:v>3.0607329999999999</c:v>
                </c:pt>
                <c:pt idx="375">
                  <c:v>4.1685119999999998</c:v>
                </c:pt>
                <c:pt idx="376">
                  <c:v>4.1627510000000001</c:v>
                </c:pt>
                <c:pt idx="377">
                  <c:v>3.9926110000000001</c:v>
                </c:pt>
                <c:pt idx="378">
                  <c:v>3.603415</c:v>
                </c:pt>
                <c:pt idx="379">
                  <c:v>5.5904619999999996</c:v>
                </c:pt>
                <c:pt idx="380">
                  <c:v>7.2420689999999999</c:v>
                </c:pt>
                <c:pt idx="381">
                  <c:v>9.4870400000000004</c:v>
                </c:pt>
                <c:pt idx="382">
                  <c:v>4.4707699999999999</c:v>
                </c:pt>
                <c:pt idx="383">
                  <c:v>5.5154690000000004</c:v>
                </c:pt>
                <c:pt idx="384">
                  <c:v>5.0603170000000004</c:v>
                </c:pt>
                <c:pt idx="385">
                  <c:v>7.603993</c:v>
                </c:pt>
                <c:pt idx="386">
                  <c:v>4.0401410000000002</c:v>
                </c:pt>
                <c:pt idx="387">
                  <c:v>4.1802539999999997</c:v>
                </c:pt>
                <c:pt idx="388">
                  <c:v>4.5598450000000001</c:v>
                </c:pt>
                <c:pt idx="389">
                  <c:v>7.6224540000000003</c:v>
                </c:pt>
                <c:pt idx="390">
                  <c:v>4.2837430000000003</c:v>
                </c:pt>
                <c:pt idx="391">
                  <c:v>4.2444189999999997</c:v>
                </c:pt>
                <c:pt idx="392">
                  <c:v>3.6549480000000001</c:v>
                </c:pt>
                <c:pt idx="393">
                  <c:v>3.8241000000000001</c:v>
                </c:pt>
                <c:pt idx="394">
                  <c:v>4.111262</c:v>
                </c:pt>
                <c:pt idx="395">
                  <c:v>4.2712320000000004</c:v>
                </c:pt>
                <c:pt idx="396">
                  <c:v>4.3651020000000003</c:v>
                </c:pt>
                <c:pt idx="397">
                  <c:v>5.2176910000000003</c:v>
                </c:pt>
                <c:pt idx="398">
                  <c:v>5.0277229999999999</c:v>
                </c:pt>
                <c:pt idx="399">
                  <c:v>6.0969249999999997</c:v>
                </c:pt>
                <c:pt idx="400">
                  <c:v>5.8436789999999998</c:v>
                </c:pt>
                <c:pt idx="401">
                  <c:v>7.9679729999999998</c:v>
                </c:pt>
                <c:pt idx="402">
                  <c:v>6.9432090000000004</c:v>
                </c:pt>
                <c:pt idx="403">
                  <c:v>17.203949999999999</c:v>
                </c:pt>
                <c:pt idx="404">
                  <c:v>36.319009999999999</c:v>
                </c:pt>
                <c:pt idx="405">
                  <c:v>2.9688159999999999</c:v>
                </c:pt>
                <c:pt idx="406">
                  <c:v>2.626522</c:v>
                </c:pt>
                <c:pt idx="407">
                  <c:v>3.2129430000000001</c:v>
                </c:pt>
                <c:pt idx="408">
                  <c:v>3.5851150000000001</c:v>
                </c:pt>
                <c:pt idx="409">
                  <c:v>3.548902</c:v>
                </c:pt>
                <c:pt idx="410">
                  <c:v>2.7168869999999998</c:v>
                </c:pt>
                <c:pt idx="411">
                  <c:v>3.7776179999999999</c:v>
                </c:pt>
                <c:pt idx="412">
                  <c:v>4.6573560000000001</c:v>
                </c:pt>
                <c:pt idx="413">
                  <c:v>2.740192</c:v>
                </c:pt>
                <c:pt idx="414">
                  <c:v>2.9518119999999999</c:v>
                </c:pt>
                <c:pt idx="415">
                  <c:v>2.668968</c:v>
                </c:pt>
                <c:pt idx="416">
                  <c:v>4.8233540000000001</c:v>
                </c:pt>
                <c:pt idx="417">
                  <c:v>2.7767379999999999</c:v>
                </c:pt>
                <c:pt idx="418">
                  <c:v>3.1419060000000001</c:v>
                </c:pt>
                <c:pt idx="419">
                  <c:v>3.94299</c:v>
                </c:pt>
                <c:pt idx="420">
                  <c:v>4.4160360000000001</c:v>
                </c:pt>
                <c:pt idx="421">
                  <c:v>2.730588</c:v>
                </c:pt>
                <c:pt idx="422">
                  <c:v>3.6711490000000002</c:v>
                </c:pt>
                <c:pt idx="423">
                  <c:v>4.6042589999999999</c:v>
                </c:pt>
                <c:pt idx="424">
                  <c:v>3.1768550000000002</c:v>
                </c:pt>
                <c:pt idx="425">
                  <c:v>4.7444410000000001</c:v>
                </c:pt>
                <c:pt idx="426">
                  <c:v>4.1141629999999996</c:v>
                </c:pt>
                <c:pt idx="427">
                  <c:v>3.7180010000000001</c:v>
                </c:pt>
                <c:pt idx="428">
                  <c:v>4.5346679999999999</c:v>
                </c:pt>
                <c:pt idx="429">
                  <c:v>5.9057620000000002</c:v>
                </c:pt>
                <c:pt idx="430">
                  <c:v>4.6620480000000004</c:v>
                </c:pt>
                <c:pt idx="431">
                  <c:v>5.0648720000000003</c:v>
                </c:pt>
                <c:pt idx="432">
                  <c:v>5.6778579999999996</c:v>
                </c:pt>
                <c:pt idx="433">
                  <c:v>8.3399940000000008</c:v>
                </c:pt>
                <c:pt idx="434">
                  <c:v>7.5822010000000004</c:v>
                </c:pt>
                <c:pt idx="435">
                  <c:v>6.205012</c:v>
                </c:pt>
                <c:pt idx="436">
                  <c:v>4.122763</c:v>
                </c:pt>
                <c:pt idx="437">
                  <c:v>4.2975989999999999</c:v>
                </c:pt>
                <c:pt idx="438">
                  <c:v>2.9231980000000002</c:v>
                </c:pt>
                <c:pt idx="439">
                  <c:v>4.5767639999999998</c:v>
                </c:pt>
                <c:pt idx="440">
                  <c:v>3.8154759999999999</c:v>
                </c:pt>
                <c:pt idx="441">
                  <c:v>3.3893840000000002</c:v>
                </c:pt>
                <c:pt idx="442">
                  <c:v>5.9191330000000004</c:v>
                </c:pt>
                <c:pt idx="443">
                  <c:v>3.8456290000000002</c:v>
                </c:pt>
                <c:pt idx="444">
                  <c:v>3.3896959999999998</c:v>
                </c:pt>
                <c:pt idx="445">
                  <c:v>5.2211780000000001</c:v>
                </c:pt>
                <c:pt idx="446">
                  <c:v>4.669327</c:v>
                </c:pt>
                <c:pt idx="447">
                  <c:v>8.5225340000000003</c:v>
                </c:pt>
                <c:pt idx="448">
                  <c:v>5.7814670000000001</c:v>
                </c:pt>
                <c:pt idx="449">
                  <c:v>6.1419389999999998</c:v>
                </c:pt>
                <c:pt idx="450">
                  <c:v>4.1571720000000001</c:v>
                </c:pt>
                <c:pt idx="451">
                  <c:v>5.0728030000000004</c:v>
                </c:pt>
                <c:pt idx="452">
                  <c:v>9.4513879999999997</c:v>
                </c:pt>
                <c:pt idx="453">
                  <c:v>6.022939</c:v>
                </c:pt>
                <c:pt idx="454">
                  <c:v>4.35947</c:v>
                </c:pt>
                <c:pt idx="455">
                  <c:v>6.1440859999999997</c:v>
                </c:pt>
                <c:pt idx="456">
                  <c:v>5.6674009999999999</c:v>
                </c:pt>
                <c:pt idx="457">
                  <c:v>5.5904740000000004</c:v>
                </c:pt>
                <c:pt idx="458">
                  <c:v>8.1683319999999995</c:v>
                </c:pt>
                <c:pt idx="459">
                  <c:v>5.8291430000000002</c:v>
                </c:pt>
                <c:pt idx="460">
                  <c:v>4.8573779999999998</c:v>
                </c:pt>
                <c:pt idx="461">
                  <c:v>5.4268369999999999</c:v>
                </c:pt>
                <c:pt idx="462">
                  <c:v>11.874890000000001</c:v>
                </c:pt>
                <c:pt idx="463">
                  <c:v>9.1136359999999996</c:v>
                </c:pt>
                <c:pt idx="464">
                  <c:v>8.0562640000000005</c:v>
                </c:pt>
                <c:pt idx="465">
                  <c:v>6.3943620000000001</c:v>
                </c:pt>
                <c:pt idx="466">
                  <c:v>5.4533909999999999</c:v>
                </c:pt>
                <c:pt idx="467">
                  <c:v>10.14109</c:v>
                </c:pt>
                <c:pt idx="468">
                  <c:v>5.3167999999999997</c:v>
                </c:pt>
                <c:pt idx="469">
                  <c:v>5.420979</c:v>
                </c:pt>
                <c:pt idx="470">
                  <c:v>6.2438359999999999</c:v>
                </c:pt>
                <c:pt idx="471">
                  <c:v>5.184488</c:v>
                </c:pt>
                <c:pt idx="472">
                  <c:v>6.14832</c:v>
                </c:pt>
                <c:pt idx="473">
                  <c:v>7.4890600000000003</c:v>
                </c:pt>
                <c:pt idx="474">
                  <c:v>7.6930690000000004</c:v>
                </c:pt>
                <c:pt idx="475">
                  <c:v>7.6488800000000001</c:v>
                </c:pt>
                <c:pt idx="476">
                  <c:v>13.609389999999999</c:v>
                </c:pt>
                <c:pt idx="477">
                  <c:v>8.1891540000000003</c:v>
                </c:pt>
                <c:pt idx="478">
                  <c:v>11.622490000000001</c:v>
                </c:pt>
                <c:pt idx="479">
                  <c:v>5.3842280000000002</c:v>
                </c:pt>
                <c:pt idx="480">
                  <c:v>7.2390879999999997</c:v>
                </c:pt>
                <c:pt idx="481">
                  <c:v>6.1702110000000001</c:v>
                </c:pt>
                <c:pt idx="482">
                  <c:v>7.2573160000000003</c:v>
                </c:pt>
                <c:pt idx="483">
                  <c:v>4.2483719999999998</c:v>
                </c:pt>
                <c:pt idx="484">
                  <c:v>6.7478639999999999</c:v>
                </c:pt>
                <c:pt idx="485">
                  <c:v>5.0367579999999998</c:v>
                </c:pt>
                <c:pt idx="486">
                  <c:v>6.8397829999999997</c:v>
                </c:pt>
                <c:pt idx="487">
                  <c:v>7.9782979999999997</c:v>
                </c:pt>
                <c:pt idx="488">
                  <c:v>7.0682840000000002</c:v>
                </c:pt>
                <c:pt idx="489">
                  <c:v>7.8054810000000003</c:v>
                </c:pt>
                <c:pt idx="490">
                  <c:v>6.8382240000000003</c:v>
                </c:pt>
                <c:pt idx="491">
                  <c:v>9.0176940000000005</c:v>
                </c:pt>
                <c:pt idx="492">
                  <c:v>10.56753</c:v>
                </c:pt>
                <c:pt idx="493">
                  <c:v>8.3708139999999993</c:v>
                </c:pt>
                <c:pt idx="494">
                  <c:v>12.030279999999999</c:v>
                </c:pt>
                <c:pt idx="495">
                  <c:v>17.251349999999999</c:v>
                </c:pt>
                <c:pt idx="496">
                  <c:v>16.074780000000001</c:v>
                </c:pt>
                <c:pt idx="497">
                  <c:v>27.036529999999999</c:v>
                </c:pt>
                <c:pt idx="498">
                  <c:v>14.128</c:v>
                </c:pt>
                <c:pt idx="499">
                  <c:v>9.8612710000000003</c:v>
                </c:pt>
                <c:pt idx="500">
                  <c:v>6.6658470000000003</c:v>
                </c:pt>
                <c:pt idx="501">
                  <c:v>10.47472</c:v>
                </c:pt>
                <c:pt idx="502">
                  <c:v>9.2664489999999997</c:v>
                </c:pt>
                <c:pt idx="503">
                  <c:v>10.87205</c:v>
                </c:pt>
                <c:pt idx="504">
                  <c:v>12.37377</c:v>
                </c:pt>
                <c:pt idx="505">
                  <c:v>9.1393559999999994</c:v>
                </c:pt>
                <c:pt idx="506">
                  <c:v>10.16793</c:v>
                </c:pt>
                <c:pt idx="507">
                  <c:v>12.20829</c:v>
                </c:pt>
                <c:pt idx="508">
                  <c:v>23.792290000000001</c:v>
                </c:pt>
                <c:pt idx="509">
                  <c:v>47.540239999999997</c:v>
                </c:pt>
                <c:pt idx="510">
                  <c:v>8.3605610000000006</c:v>
                </c:pt>
                <c:pt idx="511">
                  <c:v>10.546010000000001</c:v>
                </c:pt>
                <c:pt idx="512">
                  <c:v>9.3513579999999994</c:v>
                </c:pt>
                <c:pt idx="513">
                  <c:v>10.903740000000001</c:v>
                </c:pt>
                <c:pt idx="514">
                  <c:v>13.037140000000001</c:v>
                </c:pt>
                <c:pt idx="515">
                  <c:v>15.13137</c:v>
                </c:pt>
                <c:pt idx="516">
                  <c:v>14.47603</c:v>
                </c:pt>
                <c:pt idx="517">
                  <c:v>17.541139999999999</c:v>
                </c:pt>
                <c:pt idx="518">
                  <c:v>13.31531</c:v>
                </c:pt>
                <c:pt idx="519">
                  <c:v>14.358969999999999</c:v>
                </c:pt>
                <c:pt idx="520">
                  <c:v>18.317160000000001</c:v>
                </c:pt>
                <c:pt idx="521">
                  <c:v>13.876300000000001</c:v>
                </c:pt>
                <c:pt idx="522">
                  <c:v>11.53436</c:v>
                </c:pt>
                <c:pt idx="523">
                  <c:v>9.4175719999999998</c:v>
                </c:pt>
                <c:pt idx="524">
                  <c:v>10.28496</c:v>
                </c:pt>
                <c:pt idx="525">
                  <c:v>10.647880000000001</c:v>
                </c:pt>
                <c:pt idx="526">
                  <c:v>9.2886830000000007</c:v>
                </c:pt>
                <c:pt idx="527">
                  <c:v>8.6604109999999999</c:v>
                </c:pt>
                <c:pt idx="528">
                  <c:v>9.5105660000000007</c:v>
                </c:pt>
                <c:pt idx="529">
                  <c:v>11.483549999999999</c:v>
                </c:pt>
                <c:pt idx="530">
                  <c:v>16.672979999999999</c:v>
                </c:pt>
                <c:pt idx="531">
                  <c:v>8.6572230000000001</c:v>
                </c:pt>
                <c:pt idx="532">
                  <c:v>7.3801129999999997</c:v>
                </c:pt>
                <c:pt idx="533">
                  <c:v>7.022157</c:v>
                </c:pt>
                <c:pt idx="534">
                  <c:v>5.6672450000000003</c:v>
                </c:pt>
                <c:pt idx="535">
                  <c:v>5.5709939999999998</c:v>
                </c:pt>
                <c:pt idx="536">
                  <c:v>3.657505</c:v>
                </c:pt>
                <c:pt idx="537">
                  <c:v>3.4648819999999998</c:v>
                </c:pt>
                <c:pt idx="538">
                  <c:v>4.4922810000000002</c:v>
                </c:pt>
                <c:pt idx="539">
                  <c:v>3.9198179999999998</c:v>
                </c:pt>
                <c:pt idx="540">
                  <c:v>4.4488620000000001</c:v>
                </c:pt>
                <c:pt idx="541">
                  <c:v>3.3895179999999998</c:v>
                </c:pt>
                <c:pt idx="542">
                  <c:v>2.661864</c:v>
                </c:pt>
                <c:pt idx="543">
                  <c:v>4.2194310000000002</c:v>
                </c:pt>
                <c:pt idx="544">
                  <c:v>4.4722819999999999</c:v>
                </c:pt>
                <c:pt idx="545">
                  <c:v>4.2708709999999996</c:v>
                </c:pt>
                <c:pt idx="546">
                  <c:v>3.5657329999999998</c:v>
                </c:pt>
                <c:pt idx="547">
                  <c:v>3.9046069999999999</c:v>
                </c:pt>
                <c:pt idx="548">
                  <c:v>4.6759009999999996</c:v>
                </c:pt>
                <c:pt idx="549">
                  <c:v>5.9141029999999999</c:v>
                </c:pt>
                <c:pt idx="550">
                  <c:v>5.2480700000000002</c:v>
                </c:pt>
                <c:pt idx="551">
                  <c:v>3.9143840000000001</c:v>
                </c:pt>
                <c:pt idx="552">
                  <c:v>4.9837100000000003</c:v>
                </c:pt>
                <c:pt idx="553">
                  <c:v>4.4821960000000001</c:v>
                </c:pt>
                <c:pt idx="554">
                  <c:v>4.2191020000000004</c:v>
                </c:pt>
                <c:pt idx="555">
                  <c:v>7.4187799999999999</c:v>
                </c:pt>
                <c:pt idx="556">
                  <c:v>9.8415870000000005</c:v>
                </c:pt>
                <c:pt idx="557">
                  <c:v>7.4580719999999996</c:v>
                </c:pt>
                <c:pt idx="558">
                  <c:v>5.8797459999999999</c:v>
                </c:pt>
                <c:pt idx="559">
                  <c:v>5.0232869999999998</c:v>
                </c:pt>
                <c:pt idx="560">
                  <c:v>5.3897269999999997</c:v>
                </c:pt>
                <c:pt idx="561">
                  <c:v>8.7513799999999993</c:v>
                </c:pt>
                <c:pt idx="562">
                  <c:v>5.5714959999999998</c:v>
                </c:pt>
                <c:pt idx="563">
                  <c:v>4.680396</c:v>
                </c:pt>
                <c:pt idx="564">
                  <c:v>6.4324890000000003</c:v>
                </c:pt>
                <c:pt idx="565">
                  <c:v>5.6940989999999996</c:v>
                </c:pt>
                <c:pt idx="566">
                  <c:v>3.410955</c:v>
                </c:pt>
                <c:pt idx="567">
                  <c:v>5.631729</c:v>
                </c:pt>
                <c:pt idx="568">
                  <c:v>4.7470910000000002</c:v>
                </c:pt>
                <c:pt idx="569">
                  <c:v>4.3985979999999998</c:v>
                </c:pt>
                <c:pt idx="570">
                  <c:v>3.2610890000000001</c:v>
                </c:pt>
                <c:pt idx="571">
                  <c:v>2.70614</c:v>
                </c:pt>
                <c:pt idx="572">
                  <c:v>2.5086430000000002</c:v>
                </c:pt>
                <c:pt idx="573">
                  <c:v>2.0331359999999998</c:v>
                </c:pt>
                <c:pt idx="574">
                  <c:v>1.067679</c:v>
                </c:pt>
                <c:pt idx="575">
                  <c:v>4.0677690000000002</c:v>
                </c:pt>
                <c:pt idx="576">
                  <c:v>11.606529999999999</c:v>
                </c:pt>
                <c:pt idx="577">
                  <c:v>4.6436580000000003</c:v>
                </c:pt>
                <c:pt idx="578">
                  <c:v>5.8311149999999996</c:v>
                </c:pt>
                <c:pt idx="579">
                  <c:v>5.3685729999999996</c:v>
                </c:pt>
                <c:pt idx="580">
                  <c:v>3.843677</c:v>
                </c:pt>
                <c:pt idx="581">
                  <c:v>3.8722099999999999</c:v>
                </c:pt>
                <c:pt idx="582">
                  <c:v>4.1551939999999998</c:v>
                </c:pt>
                <c:pt idx="583">
                  <c:v>2.9374509999999998</c:v>
                </c:pt>
                <c:pt idx="584">
                  <c:v>3.904868</c:v>
                </c:pt>
                <c:pt idx="585">
                  <c:v>4.3091869999999997</c:v>
                </c:pt>
                <c:pt idx="586">
                  <c:v>4.1046040000000001</c:v>
                </c:pt>
                <c:pt idx="587">
                  <c:v>3.279925</c:v>
                </c:pt>
                <c:pt idx="588">
                  <c:v>3.9533499999999999</c:v>
                </c:pt>
                <c:pt idx="589">
                  <c:v>3.2207669999999999</c:v>
                </c:pt>
                <c:pt idx="590">
                  <c:v>3.8012429999999999</c:v>
                </c:pt>
                <c:pt idx="591">
                  <c:v>2.410936</c:v>
                </c:pt>
                <c:pt idx="592">
                  <c:v>2.8655210000000002</c:v>
                </c:pt>
                <c:pt idx="593">
                  <c:v>8.7641299999999998</c:v>
                </c:pt>
                <c:pt idx="594">
                  <c:v>5.7042789999999997</c:v>
                </c:pt>
                <c:pt idx="595">
                  <c:v>3.9645980000000001</c:v>
                </c:pt>
                <c:pt idx="596">
                  <c:v>5.2115489999999998</c:v>
                </c:pt>
                <c:pt idx="597">
                  <c:v>5.4162489999999996</c:v>
                </c:pt>
                <c:pt idx="598">
                  <c:v>4.1522430000000004</c:v>
                </c:pt>
                <c:pt idx="599">
                  <c:v>5.812284</c:v>
                </c:pt>
                <c:pt idx="600">
                  <c:v>5.4535070000000001</c:v>
                </c:pt>
                <c:pt idx="601">
                  <c:v>4.4750839999999998</c:v>
                </c:pt>
                <c:pt idx="602">
                  <c:v>4.0284890000000004</c:v>
                </c:pt>
                <c:pt idx="603">
                  <c:v>3.7013959999999999</c:v>
                </c:pt>
                <c:pt idx="604">
                  <c:v>3.1390739999999999</c:v>
                </c:pt>
                <c:pt idx="605">
                  <c:v>3.4628329999999998</c:v>
                </c:pt>
                <c:pt idx="606">
                  <c:v>6.0205469999999996</c:v>
                </c:pt>
                <c:pt idx="607">
                  <c:v>4.4890049999999997</c:v>
                </c:pt>
                <c:pt idx="608">
                  <c:v>8.2388019999999997</c:v>
                </c:pt>
                <c:pt idx="609">
                  <c:v>5.5080369999999998</c:v>
                </c:pt>
                <c:pt idx="610">
                  <c:v>5.119148</c:v>
                </c:pt>
                <c:pt idx="611">
                  <c:v>4.6140030000000003</c:v>
                </c:pt>
                <c:pt idx="612">
                  <c:v>3.5348030000000001</c:v>
                </c:pt>
                <c:pt idx="613">
                  <c:v>4.6148579999999999</c:v>
                </c:pt>
                <c:pt idx="614">
                  <c:v>4.7687809999999997</c:v>
                </c:pt>
                <c:pt idx="615">
                  <c:v>4.8728220000000002</c:v>
                </c:pt>
                <c:pt idx="616">
                  <c:v>4.4823740000000001</c:v>
                </c:pt>
                <c:pt idx="617">
                  <c:v>4.339658</c:v>
                </c:pt>
                <c:pt idx="618">
                  <c:v>4.8214119999999996</c:v>
                </c:pt>
                <c:pt idx="619">
                  <c:v>5.5892030000000004</c:v>
                </c:pt>
                <c:pt idx="620">
                  <c:v>5.2198310000000001</c:v>
                </c:pt>
                <c:pt idx="621">
                  <c:v>4.1776609999999996</c:v>
                </c:pt>
                <c:pt idx="622">
                  <c:v>10.76464</c:v>
                </c:pt>
                <c:pt idx="623">
                  <c:v>6.4915529999999997</c:v>
                </c:pt>
                <c:pt idx="624">
                  <c:v>4.2886569999999997</c:v>
                </c:pt>
                <c:pt idx="625">
                  <c:v>4.4260529999999996</c:v>
                </c:pt>
                <c:pt idx="626">
                  <c:v>5.2267900000000003</c:v>
                </c:pt>
                <c:pt idx="627">
                  <c:v>4.0288050000000002</c:v>
                </c:pt>
                <c:pt idx="628">
                  <c:v>6.1366550000000002</c:v>
                </c:pt>
                <c:pt idx="629">
                  <c:v>2.7200799999999998</c:v>
                </c:pt>
                <c:pt idx="630">
                  <c:v>3.3999039999999998</c:v>
                </c:pt>
                <c:pt idx="631">
                  <c:v>4.1236709999999999</c:v>
                </c:pt>
                <c:pt idx="632">
                  <c:v>5.7653869999999996</c:v>
                </c:pt>
                <c:pt idx="633">
                  <c:v>4.6871960000000001</c:v>
                </c:pt>
                <c:pt idx="634">
                  <c:v>4.3529359999999997</c:v>
                </c:pt>
                <c:pt idx="635">
                  <c:v>3.396617</c:v>
                </c:pt>
                <c:pt idx="636">
                  <c:v>3.2703410000000002</c:v>
                </c:pt>
                <c:pt idx="637">
                  <c:v>3.5753509999999999</c:v>
                </c:pt>
                <c:pt idx="638">
                  <c:v>3.7711980000000001</c:v>
                </c:pt>
                <c:pt idx="639">
                  <c:v>2.5226690000000001</c:v>
                </c:pt>
                <c:pt idx="640">
                  <c:v>7.1829999999999998</c:v>
                </c:pt>
                <c:pt idx="641">
                  <c:v>3.4166539999999999</c:v>
                </c:pt>
                <c:pt idx="642">
                  <c:v>3.0534479999999999</c:v>
                </c:pt>
                <c:pt idx="643">
                  <c:v>3.6000359999999998</c:v>
                </c:pt>
                <c:pt idx="644">
                  <c:v>3.9912100000000001</c:v>
                </c:pt>
                <c:pt idx="645">
                  <c:v>3.6332209999999998</c:v>
                </c:pt>
                <c:pt idx="646">
                  <c:v>3.5174759999999998</c:v>
                </c:pt>
                <c:pt idx="647">
                  <c:v>4.4589040000000004</c:v>
                </c:pt>
                <c:pt idx="648">
                  <c:v>5.613092</c:v>
                </c:pt>
                <c:pt idx="649">
                  <c:v>4.4449909999999999</c:v>
                </c:pt>
                <c:pt idx="650">
                  <c:v>4.4512559999999999</c:v>
                </c:pt>
                <c:pt idx="651">
                  <c:v>4.3563700000000001</c:v>
                </c:pt>
                <c:pt idx="652">
                  <c:v>3.673143</c:v>
                </c:pt>
                <c:pt idx="653">
                  <c:v>4.0605630000000001</c:v>
                </c:pt>
                <c:pt idx="654">
                  <c:v>3.6285940000000001</c:v>
                </c:pt>
                <c:pt idx="655">
                  <c:v>3.7586300000000001</c:v>
                </c:pt>
                <c:pt idx="656">
                  <c:v>3.889475</c:v>
                </c:pt>
                <c:pt idx="657">
                  <c:v>4.8455810000000001</c:v>
                </c:pt>
                <c:pt idx="658">
                  <c:v>3.5213320000000001</c:v>
                </c:pt>
                <c:pt idx="659">
                  <c:v>6.2284059999999997</c:v>
                </c:pt>
                <c:pt idx="660">
                  <c:v>3.206979</c:v>
                </c:pt>
                <c:pt idx="661">
                  <c:v>3.8949029999999998</c:v>
                </c:pt>
                <c:pt idx="662">
                  <c:v>3.322371</c:v>
                </c:pt>
                <c:pt idx="663">
                  <c:v>4.5800270000000003</c:v>
                </c:pt>
                <c:pt idx="664">
                  <c:v>5.7862920000000004</c:v>
                </c:pt>
                <c:pt idx="665">
                  <c:v>4.9525620000000004</c:v>
                </c:pt>
                <c:pt idx="666">
                  <c:v>4.1062120000000002</c:v>
                </c:pt>
                <c:pt idx="667">
                  <c:v>4.8926959999999999</c:v>
                </c:pt>
                <c:pt idx="668">
                  <c:v>3.6507999999999998</c:v>
                </c:pt>
                <c:pt idx="669">
                  <c:v>5.1027170000000002</c:v>
                </c:pt>
                <c:pt idx="670">
                  <c:v>6.439311</c:v>
                </c:pt>
                <c:pt idx="671">
                  <c:v>5.5026289999999998</c:v>
                </c:pt>
                <c:pt idx="672">
                  <c:v>4.4225110000000001</c:v>
                </c:pt>
                <c:pt idx="673">
                  <c:v>6.2537719999999997</c:v>
                </c:pt>
                <c:pt idx="674">
                  <c:v>4.7563750000000002</c:v>
                </c:pt>
                <c:pt idx="675">
                  <c:v>7.0220409999999998</c:v>
                </c:pt>
                <c:pt idx="676">
                  <c:v>6.1971590000000001</c:v>
                </c:pt>
                <c:pt idx="677">
                  <c:v>2.8646509999999998</c:v>
                </c:pt>
                <c:pt idx="678">
                  <c:v>3.6239300000000001</c:v>
                </c:pt>
                <c:pt idx="679">
                  <c:v>4.1776720000000003</c:v>
                </c:pt>
                <c:pt idx="680">
                  <c:v>4.6712889999999998</c:v>
                </c:pt>
                <c:pt idx="681">
                  <c:v>3.8791389999999999</c:v>
                </c:pt>
                <c:pt idx="682">
                  <c:v>4.0492419999999996</c:v>
                </c:pt>
                <c:pt idx="683">
                  <c:v>6.5660740000000004</c:v>
                </c:pt>
                <c:pt idx="684">
                  <c:v>5.8240749999999997</c:v>
                </c:pt>
                <c:pt idx="685">
                  <c:v>8.3117629999999991</c:v>
                </c:pt>
                <c:pt idx="686">
                  <c:v>9.3813709999999997</c:v>
                </c:pt>
                <c:pt idx="687">
                  <c:v>3.8867470000000002</c:v>
                </c:pt>
                <c:pt idx="688">
                  <c:v>5.1776840000000002</c:v>
                </c:pt>
                <c:pt idx="689">
                  <c:v>5.6672269999999996</c:v>
                </c:pt>
                <c:pt idx="690">
                  <c:v>3.6536279999999999</c:v>
                </c:pt>
                <c:pt idx="691">
                  <c:v>4.3159099999999997</c:v>
                </c:pt>
                <c:pt idx="692">
                  <c:v>3.1260240000000001</c:v>
                </c:pt>
                <c:pt idx="693">
                  <c:v>3.5911050000000002</c:v>
                </c:pt>
                <c:pt idx="694">
                  <c:v>3.784656</c:v>
                </c:pt>
                <c:pt idx="695">
                  <c:v>2.4374600000000002</c:v>
                </c:pt>
                <c:pt idx="696">
                  <c:v>4.0232900000000003</c:v>
                </c:pt>
                <c:pt idx="697">
                  <c:v>4.5337990000000001</c:v>
                </c:pt>
                <c:pt idx="698">
                  <c:v>16.43695</c:v>
                </c:pt>
                <c:pt idx="699">
                  <c:v>4.1116200000000003</c:v>
                </c:pt>
                <c:pt idx="700">
                  <c:v>5.7313700000000001</c:v>
                </c:pt>
                <c:pt idx="701">
                  <c:v>4.9154640000000001</c:v>
                </c:pt>
                <c:pt idx="702">
                  <c:v>4.531625</c:v>
                </c:pt>
                <c:pt idx="703">
                  <c:v>8.8554709999999996</c:v>
                </c:pt>
                <c:pt idx="704">
                  <c:v>6.4363720000000004</c:v>
                </c:pt>
                <c:pt idx="705">
                  <c:v>4.1134510000000004</c:v>
                </c:pt>
                <c:pt idx="706">
                  <c:v>6.25298</c:v>
                </c:pt>
                <c:pt idx="707">
                  <c:v>4.0959320000000004</c:v>
                </c:pt>
                <c:pt idx="708">
                  <c:v>4.7711050000000004</c:v>
                </c:pt>
                <c:pt idx="709">
                  <c:v>5.220434</c:v>
                </c:pt>
                <c:pt idx="710">
                  <c:v>3.3325619999999998</c:v>
                </c:pt>
                <c:pt idx="711">
                  <c:v>3.9054519999999999</c:v>
                </c:pt>
                <c:pt idx="712">
                  <c:v>3.9270499999999999</c:v>
                </c:pt>
                <c:pt idx="713">
                  <c:v>5.1364070000000002</c:v>
                </c:pt>
                <c:pt idx="714">
                  <c:v>5.9666499999999996</c:v>
                </c:pt>
                <c:pt idx="715">
                  <c:v>5.2864849999999999</c:v>
                </c:pt>
                <c:pt idx="716">
                  <c:v>5.8361689999999999</c:v>
                </c:pt>
                <c:pt idx="717">
                  <c:v>6.2864849999999999</c:v>
                </c:pt>
                <c:pt idx="718">
                  <c:v>6.5710119999999996</c:v>
                </c:pt>
                <c:pt idx="719">
                  <c:v>3.600295</c:v>
                </c:pt>
                <c:pt idx="720">
                  <c:v>4.0131240000000004</c:v>
                </c:pt>
                <c:pt idx="721">
                  <c:v>5.418558</c:v>
                </c:pt>
                <c:pt idx="722">
                  <c:v>4.8663470000000002</c:v>
                </c:pt>
                <c:pt idx="723">
                  <c:v>5.506958</c:v>
                </c:pt>
                <c:pt idx="724">
                  <c:v>3.0626540000000002</c:v>
                </c:pt>
                <c:pt idx="725">
                  <c:v>3.8196750000000002</c:v>
                </c:pt>
                <c:pt idx="726">
                  <c:v>4.493099</c:v>
                </c:pt>
                <c:pt idx="727">
                  <c:v>5.1693490000000004</c:v>
                </c:pt>
                <c:pt idx="728">
                  <c:v>6.0980660000000002</c:v>
                </c:pt>
                <c:pt idx="729">
                  <c:v>4.385516</c:v>
                </c:pt>
                <c:pt idx="730">
                  <c:v>5.3192909999999998</c:v>
                </c:pt>
                <c:pt idx="731">
                  <c:v>5.1669770000000002</c:v>
                </c:pt>
                <c:pt idx="732">
                  <c:v>3.9935309999999999</c:v>
                </c:pt>
                <c:pt idx="733">
                  <c:v>3.7367270000000001</c:v>
                </c:pt>
                <c:pt idx="734">
                  <c:v>4.3628220000000004</c:v>
                </c:pt>
                <c:pt idx="735">
                  <c:v>5.3225490000000004</c:v>
                </c:pt>
                <c:pt idx="736">
                  <c:v>4.0067490000000001</c:v>
                </c:pt>
                <c:pt idx="737">
                  <c:v>5.452725</c:v>
                </c:pt>
                <c:pt idx="738">
                  <c:v>5.1122100000000001</c:v>
                </c:pt>
                <c:pt idx="739">
                  <c:v>6.7024540000000004</c:v>
                </c:pt>
                <c:pt idx="740">
                  <c:v>5.5140260000000003</c:v>
                </c:pt>
                <c:pt idx="741">
                  <c:v>4.3547589999999996</c:v>
                </c:pt>
                <c:pt idx="742">
                  <c:v>4.286473</c:v>
                </c:pt>
                <c:pt idx="743">
                  <c:v>5.8215380000000003</c:v>
                </c:pt>
                <c:pt idx="744">
                  <c:v>6.2381520000000004</c:v>
                </c:pt>
                <c:pt idx="745">
                  <c:v>6.8234880000000002</c:v>
                </c:pt>
                <c:pt idx="746">
                  <c:v>5.604495</c:v>
                </c:pt>
                <c:pt idx="747">
                  <c:v>9.5827069999999992</c:v>
                </c:pt>
                <c:pt idx="748">
                  <c:v>11.21177</c:v>
                </c:pt>
                <c:pt idx="749">
                  <c:v>6.2248760000000001</c:v>
                </c:pt>
                <c:pt idx="750">
                  <c:v>6.0950930000000003</c:v>
                </c:pt>
                <c:pt idx="751">
                  <c:v>5.4664809999999999</c:v>
                </c:pt>
                <c:pt idx="752">
                  <c:v>4.4306039999999998</c:v>
                </c:pt>
                <c:pt idx="753">
                  <c:v>5.5786119999999997</c:v>
                </c:pt>
                <c:pt idx="754">
                  <c:v>4.836665</c:v>
                </c:pt>
                <c:pt idx="755">
                  <c:v>5.1788420000000004</c:v>
                </c:pt>
                <c:pt idx="756">
                  <c:v>3.4344929999999998</c:v>
                </c:pt>
                <c:pt idx="757">
                  <c:v>4.6705730000000001</c:v>
                </c:pt>
                <c:pt idx="758">
                  <c:v>3.9736600000000002</c:v>
                </c:pt>
                <c:pt idx="759">
                  <c:v>3.6227770000000001</c:v>
                </c:pt>
                <c:pt idx="760">
                  <c:v>4.6377810000000004</c:v>
                </c:pt>
                <c:pt idx="761">
                  <c:v>5.8912180000000003</c:v>
                </c:pt>
                <c:pt idx="762">
                  <c:v>5.6675570000000004</c:v>
                </c:pt>
                <c:pt idx="763">
                  <c:v>4.0665079999999998</c:v>
                </c:pt>
                <c:pt idx="764">
                  <c:v>3.5963599999999998</c:v>
                </c:pt>
                <c:pt idx="765">
                  <c:v>3.8444780000000001</c:v>
                </c:pt>
                <c:pt idx="766">
                  <c:v>7.5328650000000001</c:v>
                </c:pt>
                <c:pt idx="767">
                  <c:v>5.899057</c:v>
                </c:pt>
                <c:pt idx="768">
                  <c:v>5.3425940000000001</c:v>
                </c:pt>
                <c:pt idx="769">
                  <c:v>5.9384439999999996</c:v>
                </c:pt>
                <c:pt idx="770">
                  <c:v>7.6711359999999997</c:v>
                </c:pt>
                <c:pt idx="771">
                  <c:v>11.98892</c:v>
                </c:pt>
                <c:pt idx="772">
                  <c:v>5.693079</c:v>
                </c:pt>
                <c:pt idx="773">
                  <c:v>6.307461</c:v>
                </c:pt>
                <c:pt idx="774">
                  <c:v>4.2412229999999997</c:v>
                </c:pt>
                <c:pt idx="775">
                  <c:v>4.2546150000000003</c:v>
                </c:pt>
                <c:pt idx="776">
                  <c:v>3.8953500000000001</c:v>
                </c:pt>
                <c:pt idx="777">
                  <c:v>5.2925589999999998</c:v>
                </c:pt>
                <c:pt idx="778">
                  <c:v>4.1821400000000004</c:v>
                </c:pt>
                <c:pt idx="779">
                  <c:v>6.4660159999999998</c:v>
                </c:pt>
                <c:pt idx="780">
                  <c:v>5.9619770000000001</c:v>
                </c:pt>
                <c:pt idx="781">
                  <c:v>5.3811369999999998</c:v>
                </c:pt>
                <c:pt idx="782">
                  <c:v>6.7550030000000003</c:v>
                </c:pt>
                <c:pt idx="783">
                  <c:v>5.7065469999999996</c:v>
                </c:pt>
                <c:pt idx="784">
                  <c:v>5.2953640000000002</c:v>
                </c:pt>
                <c:pt idx="785">
                  <c:v>5.7043999999999997</c:v>
                </c:pt>
                <c:pt idx="786">
                  <c:v>5.2966230000000003</c:v>
                </c:pt>
                <c:pt idx="787">
                  <c:v>5.6019199999999998</c:v>
                </c:pt>
                <c:pt idx="788">
                  <c:v>6.3166960000000003</c:v>
                </c:pt>
                <c:pt idx="789">
                  <c:v>4.5027999999999997</c:v>
                </c:pt>
                <c:pt idx="790">
                  <c:v>8.0705349999999996</c:v>
                </c:pt>
                <c:pt idx="791">
                  <c:v>4.8645269999999998</c:v>
                </c:pt>
                <c:pt idx="792">
                  <c:v>5.6958399999999996</c:v>
                </c:pt>
                <c:pt idx="793">
                  <c:v>7.0397470000000002</c:v>
                </c:pt>
                <c:pt idx="794">
                  <c:v>4.7826890000000004</c:v>
                </c:pt>
                <c:pt idx="795">
                  <c:v>6.0637369999999997</c:v>
                </c:pt>
                <c:pt idx="796">
                  <c:v>6.8636200000000001</c:v>
                </c:pt>
                <c:pt idx="797">
                  <c:v>4.8518619999999997</c:v>
                </c:pt>
                <c:pt idx="798">
                  <c:v>4.3024139999999997</c:v>
                </c:pt>
                <c:pt idx="799">
                  <c:v>5.2590440000000003</c:v>
                </c:pt>
                <c:pt idx="800">
                  <c:v>5.0050790000000003</c:v>
                </c:pt>
                <c:pt idx="801">
                  <c:v>10.42131</c:v>
                </c:pt>
                <c:pt idx="802">
                  <c:v>7.9697589999999998</c:v>
                </c:pt>
                <c:pt idx="803">
                  <c:v>5.9807969999999999</c:v>
                </c:pt>
                <c:pt idx="804">
                  <c:v>5.9419789999999999</c:v>
                </c:pt>
                <c:pt idx="805">
                  <c:v>4.8240939999999997</c:v>
                </c:pt>
                <c:pt idx="806">
                  <c:v>6.4376329999999999</c:v>
                </c:pt>
                <c:pt idx="807">
                  <c:v>10.196260000000001</c:v>
                </c:pt>
                <c:pt idx="808">
                  <c:v>6.5333449999999997</c:v>
                </c:pt>
                <c:pt idx="809">
                  <c:v>8.4937269999999998</c:v>
                </c:pt>
                <c:pt idx="810">
                  <c:v>5.3912890000000004</c:v>
                </c:pt>
                <c:pt idx="811">
                  <c:v>6.3349869999999999</c:v>
                </c:pt>
                <c:pt idx="812">
                  <c:v>6.2886030000000002</c:v>
                </c:pt>
                <c:pt idx="813">
                  <c:v>5.1026189999999998</c:v>
                </c:pt>
                <c:pt idx="814">
                  <c:v>4.7699239999999996</c:v>
                </c:pt>
                <c:pt idx="815">
                  <c:v>8.0496920000000003</c:v>
                </c:pt>
                <c:pt idx="816">
                  <c:v>6.0909760000000004</c:v>
                </c:pt>
                <c:pt idx="817">
                  <c:v>8.8812630000000006</c:v>
                </c:pt>
                <c:pt idx="818">
                  <c:v>9.4077549999999999</c:v>
                </c:pt>
                <c:pt idx="819">
                  <c:v>7.8945619999999996</c:v>
                </c:pt>
                <c:pt idx="820">
                  <c:v>10.59446</c:v>
                </c:pt>
                <c:pt idx="821">
                  <c:v>8.2743610000000007</c:v>
                </c:pt>
                <c:pt idx="822">
                  <c:v>5.2244970000000004</c:v>
                </c:pt>
                <c:pt idx="823">
                  <c:v>6.0881970000000001</c:v>
                </c:pt>
                <c:pt idx="824">
                  <c:v>6.6047209999999996</c:v>
                </c:pt>
                <c:pt idx="825">
                  <c:v>7.4262980000000001</c:v>
                </c:pt>
                <c:pt idx="826">
                  <c:v>4.0261610000000001</c:v>
                </c:pt>
                <c:pt idx="827">
                  <c:v>13.35575</c:v>
                </c:pt>
                <c:pt idx="828">
                  <c:v>11.42089</c:v>
                </c:pt>
                <c:pt idx="829">
                  <c:v>7.1158929999999998</c:v>
                </c:pt>
                <c:pt idx="830">
                  <c:v>6.8980589999999999</c:v>
                </c:pt>
                <c:pt idx="831">
                  <c:v>7.2528940000000004</c:v>
                </c:pt>
                <c:pt idx="832">
                  <c:v>5.6702820000000003</c:v>
                </c:pt>
                <c:pt idx="833">
                  <c:v>5.8659429999999997</c:v>
                </c:pt>
                <c:pt idx="834">
                  <c:v>6.862565</c:v>
                </c:pt>
                <c:pt idx="835">
                  <c:v>7.3000619999999996</c:v>
                </c:pt>
                <c:pt idx="836">
                  <c:v>5.8098409999999996</c:v>
                </c:pt>
                <c:pt idx="837">
                  <c:v>7.8338070000000002</c:v>
                </c:pt>
                <c:pt idx="838">
                  <c:v>10.03778</c:v>
                </c:pt>
                <c:pt idx="839">
                  <c:v>7.5442020000000003</c:v>
                </c:pt>
                <c:pt idx="840">
                  <c:v>6.3125580000000001</c:v>
                </c:pt>
                <c:pt idx="841">
                  <c:v>8.0303590000000007</c:v>
                </c:pt>
                <c:pt idx="842">
                  <c:v>6.3739990000000004</c:v>
                </c:pt>
                <c:pt idx="843">
                  <c:v>7.5551680000000001</c:v>
                </c:pt>
                <c:pt idx="844">
                  <c:v>6.7589569999999997</c:v>
                </c:pt>
                <c:pt idx="845">
                  <c:v>6.0409819999999996</c:v>
                </c:pt>
                <c:pt idx="846">
                  <c:v>3.2622420000000001</c:v>
                </c:pt>
                <c:pt idx="847">
                  <c:v>5.7877270000000003</c:v>
                </c:pt>
                <c:pt idx="848">
                  <c:v>8.2224679999999992</c:v>
                </c:pt>
                <c:pt idx="849">
                  <c:v>7.2051670000000003</c:v>
                </c:pt>
                <c:pt idx="850">
                  <c:v>9.5236680000000007</c:v>
                </c:pt>
                <c:pt idx="851">
                  <c:v>6.8023480000000003</c:v>
                </c:pt>
                <c:pt idx="852">
                  <c:v>5.35114</c:v>
                </c:pt>
                <c:pt idx="853">
                  <c:v>6.5640780000000003</c:v>
                </c:pt>
                <c:pt idx="854">
                  <c:v>6.0594219999999996</c:v>
                </c:pt>
                <c:pt idx="855">
                  <c:v>4.2475800000000001</c:v>
                </c:pt>
                <c:pt idx="856">
                  <c:v>4.636196</c:v>
                </c:pt>
                <c:pt idx="857">
                  <c:v>6.2885049999999998</c:v>
                </c:pt>
                <c:pt idx="858">
                  <c:v>3.6757270000000002</c:v>
                </c:pt>
                <c:pt idx="859">
                  <c:v>8.5586610000000007</c:v>
                </c:pt>
                <c:pt idx="860">
                  <c:v>5.3145680000000004</c:v>
                </c:pt>
                <c:pt idx="861">
                  <c:v>6.0458090000000002</c:v>
                </c:pt>
                <c:pt idx="862">
                  <c:v>7.7930979999999996</c:v>
                </c:pt>
                <c:pt idx="863">
                  <c:v>7.9732130000000003</c:v>
                </c:pt>
                <c:pt idx="864">
                  <c:v>7.4996309999999999</c:v>
                </c:pt>
                <c:pt idx="865">
                  <c:v>8.3789990000000003</c:v>
                </c:pt>
                <c:pt idx="866">
                  <c:v>8.8047629999999995</c:v>
                </c:pt>
                <c:pt idx="867">
                  <c:v>8.1192100000000007</c:v>
                </c:pt>
                <c:pt idx="868">
                  <c:v>7.3847620000000003</c:v>
                </c:pt>
                <c:pt idx="869">
                  <c:v>6.8625679999999996</c:v>
                </c:pt>
                <c:pt idx="870">
                  <c:v>7.0860900000000004</c:v>
                </c:pt>
                <c:pt idx="871">
                  <c:v>10.92118</c:v>
                </c:pt>
                <c:pt idx="872">
                  <c:v>10.735340000000001</c:v>
                </c:pt>
                <c:pt idx="873">
                  <c:v>7.6202439999999996</c:v>
                </c:pt>
                <c:pt idx="874">
                  <c:v>6.6366949999999996</c:v>
                </c:pt>
                <c:pt idx="875">
                  <c:v>10.34562</c:v>
                </c:pt>
                <c:pt idx="876">
                  <c:v>11.92015</c:v>
                </c:pt>
                <c:pt idx="877">
                  <c:v>10.551600000000001</c:v>
                </c:pt>
                <c:pt idx="878">
                  <c:v>4.81229</c:v>
                </c:pt>
                <c:pt idx="879">
                  <c:v>5.5121029999999998</c:v>
                </c:pt>
                <c:pt idx="880">
                  <c:v>5.4120280000000003</c:v>
                </c:pt>
                <c:pt idx="881">
                  <c:v>6.1308610000000003</c:v>
                </c:pt>
                <c:pt idx="882">
                  <c:v>7.4771619999999999</c:v>
                </c:pt>
                <c:pt idx="883">
                  <c:v>6.1497679999999999</c:v>
                </c:pt>
                <c:pt idx="884">
                  <c:v>7.1964410000000001</c:v>
                </c:pt>
                <c:pt idx="885">
                  <c:v>6.572057</c:v>
                </c:pt>
                <c:pt idx="886">
                  <c:v>5.476979</c:v>
                </c:pt>
                <c:pt idx="887">
                  <c:v>8.7879419999999993</c:v>
                </c:pt>
                <c:pt idx="888">
                  <c:v>8.1579809999999995</c:v>
                </c:pt>
                <c:pt idx="889">
                  <c:v>10.08855</c:v>
                </c:pt>
                <c:pt idx="890">
                  <c:v>9.1827850000000009</c:v>
                </c:pt>
                <c:pt idx="891">
                  <c:v>4.7527799999999996</c:v>
                </c:pt>
                <c:pt idx="892">
                  <c:v>3.376509</c:v>
                </c:pt>
                <c:pt idx="893">
                  <c:v>4.7003430000000002</c:v>
                </c:pt>
                <c:pt idx="894">
                  <c:v>4.25549</c:v>
                </c:pt>
                <c:pt idx="895">
                  <c:v>4.1635</c:v>
                </c:pt>
                <c:pt idx="896">
                  <c:v>6.0231159999999999</c:v>
                </c:pt>
                <c:pt idx="897">
                  <c:v>3.222286</c:v>
                </c:pt>
                <c:pt idx="898">
                  <c:v>3.1850550000000002</c:v>
                </c:pt>
                <c:pt idx="899">
                  <c:v>3.449325</c:v>
                </c:pt>
                <c:pt idx="900">
                  <c:v>4.0606770000000001</c:v>
                </c:pt>
                <c:pt idx="901">
                  <c:v>7.2691850000000002</c:v>
                </c:pt>
                <c:pt idx="902">
                  <c:v>6.5450900000000001</c:v>
                </c:pt>
                <c:pt idx="903">
                  <c:v>4.8989320000000003</c:v>
                </c:pt>
                <c:pt idx="904">
                  <c:v>5.8938740000000003</c:v>
                </c:pt>
                <c:pt idx="905">
                  <c:v>4.1364859999999997</c:v>
                </c:pt>
                <c:pt idx="906">
                  <c:v>4.4459590000000002</c:v>
                </c:pt>
                <c:pt idx="907">
                  <c:v>4.0893370000000004</c:v>
                </c:pt>
                <c:pt idx="908">
                  <c:v>3.4469989999999999</c:v>
                </c:pt>
                <c:pt idx="909">
                  <c:v>3.8312119999999998</c:v>
                </c:pt>
                <c:pt idx="910">
                  <c:v>4.4279109999999999</c:v>
                </c:pt>
                <c:pt idx="911">
                  <c:v>5.2032990000000003</c:v>
                </c:pt>
                <c:pt idx="912">
                  <c:v>4.0322069999999997</c:v>
                </c:pt>
                <c:pt idx="913">
                  <c:v>5.0754400000000004</c:v>
                </c:pt>
                <c:pt idx="914">
                  <c:v>4.7629570000000001</c:v>
                </c:pt>
                <c:pt idx="915">
                  <c:v>3.692688</c:v>
                </c:pt>
                <c:pt idx="916">
                  <c:v>3.6924070000000002</c:v>
                </c:pt>
                <c:pt idx="917">
                  <c:v>3.2463669999999998</c:v>
                </c:pt>
                <c:pt idx="918">
                  <c:v>4.3771740000000001</c:v>
                </c:pt>
                <c:pt idx="919">
                  <c:v>3.8397549999999998</c:v>
                </c:pt>
                <c:pt idx="920">
                  <c:v>2.4316870000000002</c:v>
                </c:pt>
                <c:pt idx="921">
                  <c:v>4.103091</c:v>
                </c:pt>
                <c:pt idx="922">
                  <c:v>3.3256199999999998</c:v>
                </c:pt>
                <c:pt idx="923">
                  <c:v>3.5857350000000001</c:v>
                </c:pt>
                <c:pt idx="924">
                  <c:v>3.9450240000000001</c:v>
                </c:pt>
                <c:pt idx="925">
                  <c:v>4.706162</c:v>
                </c:pt>
                <c:pt idx="926">
                  <c:v>4.1595890000000004</c:v>
                </c:pt>
                <c:pt idx="927">
                  <c:v>5.381691</c:v>
                </c:pt>
                <c:pt idx="928">
                  <c:v>5.0883469999999997</c:v>
                </c:pt>
                <c:pt idx="929">
                  <c:v>4.2930760000000001</c:v>
                </c:pt>
                <c:pt idx="930">
                  <c:v>5.5170000000000003</c:v>
                </c:pt>
                <c:pt idx="931">
                  <c:v>5.7989240000000004</c:v>
                </c:pt>
                <c:pt idx="932">
                  <c:v>6.3781379999999999</c:v>
                </c:pt>
                <c:pt idx="933">
                  <c:v>4.7791740000000003</c:v>
                </c:pt>
                <c:pt idx="934">
                  <c:v>5.7637419999999997</c:v>
                </c:pt>
                <c:pt idx="935">
                  <c:v>6.7605199999999996</c:v>
                </c:pt>
                <c:pt idx="936">
                  <c:v>10.49883</c:v>
                </c:pt>
                <c:pt idx="937">
                  <c:v>7.5624919999999998</c:v>
                </c:pt>
                <c:pt idx="938">
                  <c:v>5.7357760000000004</c:v>
                </c:pt>
                <c:pt idx="939">
                  <c:v>5.3268310000000003</c:v>
                </c:pt>
                <c:pt idx="940">
                  <c:v>3.7365020000000002</c:v>
                </c:pt>
                <c:pt idx="941">
                  <c:v>3.3664139999999998</c:v>
                </c:pt>
                <c:pt idx="942">
                  <c:v>3.9617170000000002</c:v>
                </c:pt>
                <c:pt idx="943">
                  <c:v>3.6167029999999998</c:v>
                </c:pt>
                <c:pt idx="944">
                  <c:v>3.647913</c:v>
                </c:pt>
                <c:pt idx="945">
                  <c:v>4.037528</c:v>
                </c:pt>
                <c:pt idx="946">
                  <c:v>2.2452200000000002</c:v>
                </c:pt>
                <c:pt idx="947">
                  <c:v>4.3551739999999999</c:v>
                </c:pt>
                <c:pt idx="948">
                  <c:v>5.8072480000000004</c:v>
                </c:pt>
                <c:pt idx="949">
                  <c:v>4.2371600000000003</c:v>
                </c:pt>
                <c:pt idx="950">
                  <c:v>6.6640680000000003</c:v>
                </c:pt>
                <c:pt idx="951">
                  <c:v>4.1772220000000004</c:v>
                </c:pt>
                <c:pt idx="952">
                  <c:v>6.0086040000000001</c:v>
                </c:pt>
                <c:pt idx="953">
                  <c:v>4.9469560000000001</c:v>
                </c:pt>
                <c:pt idx="954">
                  <c:v>3.969328</c:v>
                </c:pt>
                <c:pt idx="955">
                  <c:v>5.1185099999999997</c:v>
                </c:pt>
                <c:pt idx="956">
                  <c:v>5.3021130000000003</c:v>
                </c:pt>
                <c:pt idx="957">
                  <c:v>3.672018</c:v>
                </c:pt>
                <c:pt idx="958">
                  <c:v>11.713419999999999</c:v>
                </c:pt>
                <c:pt idx="959">
                  <c:v>3.9801250000000001</c:v>
                </c:pt>
                <c:pt idx="960">
                  <c:v>6.1860439999999999</c:v>
                </c:pt>
                <c:pt idx="961">
                  <c:v>4.8693809999999997</c:v>
                </c:pt>
                <c:pt idx="962">
                  <c:v>5.3292229999999998</c:v>
                </c:pt>
                <c:pt idx="963">
                  <c:v>4.6610300000000002</c:v>
                </c:pt>
                <c:pt idx="964">
                  <c:v>3.8154119999999998</c:v>
                </c:pt>
                <c:pt idx="965">
                  <c:v>4.0648</c:v>
                </c:pt>
                <c:pt idx="966">
                  <c:v>4.4626229999999998</c:v>
                </c:pt>
                <c:pt idx="967">
                  <c:v>4.0632630000000001</c:v>
                </c:pt>
                <c:pt idx="968">
                  <c:v>3.5919319999999999</c:v>
                </c:pt>
                <c:pt idx="969">
                  <c:v>6.3221619999999996</c:v>
                </c:pt>
                <c:pt idx="970">
                  <c:v>5.8981320000000004</c:v>
                </c:pt>
                <c:pt idx="971">
                  <c:v>4.9673780000000001</c:v>
                </c:pt>
                <c:pt idx="972">
                  <c:v>3.8390659999999999</c:v>
                </c:pt>
                <c:pt idx="973">
                  <c:v>5.7839270000000003</c:v>
                </c:pt>
                <c:pt idx="974">
                  <c:v>4.308338</c:v>
                </c:pt>
                <c:pt idx="975">
                  <c:v>6.8022460000000002</c:v>
                </c:pt>
                <c:pt idx="976">
                  <c:v>4.5983489999999998</c:v>
                </c:pt>
                <c:pt idx="977">
                  <c:v>6.3576889999999997</c:v>
                </c:pt>
                <c:pt idx="978">
                  <c:v>4.1074489999999999</c:v>
                </c:pt>
                <c:pt idx="979">
                  <c:v>3.5885609999999999</c:v>
                </c:pt>
                <c:pt idx="980">
                  <c:v>5.3334609999999998</c:v>
                </c:pt>
                <c:pt idx="981">
                  <c:v>7.70573</c:v>
                </c:pt>
                <c:pt idx="982">
                  <c:v>5.7678770000000004</c:v>
                </c:pt>
                <c:pt idx="983">
                  <c:v>4.7907909999999996</c:v>
                </c:pt>
                <c:pt idx="984">
                  <c:v>4.1033619999999997</c:v>
                </c:pt>
                <c:pt idx="985">
                  <c:v>6.6621839999999999</c:v>
                </c:pt>
                <c:pt idx="986">
                  <c:v>5.6562520000000003</c:v>
                </c:pt>
                <c:pt idx="987">
                  <c:v>5.8321329999999998</c:v>
                </c:pt>
                <c:pt idx="988">
                  <c:v>5.6408839999999998</c:v>
                </c:pt>
                <c:pt idx="989">
                  <c:v>4.0802519999999998</c:v>
                </c:pt>
                <c:pt idx="990">
                  <c:v>6.4061380000000003</c:v>
                </c:pt>
                <c:pt idx="991">
                  <c:v>6.0770400000000002</c:v>
                </c:pt>
                <c:pt idx="992">
                  <c:v>4.1353869999999997</c:v>
                </c:pt>
                <c:pt idx="993">
                  <c:v>7.3509779999999996</c:v>
                </c:pt>
                <c:pt idx="994">
                  <c:v>5.3816639999999998</c:v>
                </c:pt>
                <c:pt idx="995">
                  <c:v>7.4625700000000004</c:v>
                </c:pt>
                <c:pt idx="996">
                  <c:v>4.3873810000000004</c:v>
                </c:pt>
                <c:pt idx="997">
                  <c:v>5.8673849999999996</c:v>
                </c:pt>
                <c:pt idx="998">
                  <c:v>7.6661380000000001</c:v>
                </c:pt>
                <c:pt idx="999">
                  <c:v>12.538399999999999</c:v>
                </c:pt>
                <c:pt idx="1000">
                  <c:v>5.596438</c:v>
                </c:pt>
                <c:pt idx="1001">
                  <c:v>6.8074009999999996</c:v>
                </c:pt>
                <c:pt idx="1002">
                  <c:v>8.0101809999999993</c:v>
                </c:pt>
                <c:pt idx="1003">
                  <c:v>4.5722899999999997</c:v>
                </c:pt>
                <c:pt idx="1004">
                  <c:v>4.0447939999999996</c:v>
                </c:pt>
                <c:pt idx="1005">
                  <c:v>5.213139</c:v>
                </c:pt>
                <c:pt idx="1006">
                  <c:v>5.7123150000000003</c:v>
                </c:pt>
                <c:pt idx="1007">
                  <c:v>7.447044</c:v>
                </c:pt>
                <c:pt idx="1008">
                  <c:v>4.5964410000000004</c:v>
                </c:pt>
                <c:pt idx="1009">
                  <c:v>7.2353480000000001</c:v>
                </c:pt>
                <c:pt idx="1010">
                  <c:v>6.11355</c:v>
                </c:pt>
                <c:pt idx="1011">
                  <c:v>6.685981</c:v>
                </c:pt>
                <c:pt idx="1012">
                  <c:v>6.648892</c:v>
                </c:pt>
                <c:pt idx="1013">
                  <c:v>8.1287520000000004</c:v>
                </c:pt>
                <c:pt idx="1014">
                  <c:v>6.2970829999999998</c:v>
                </c:pt>
                <c:pt idx="1015">
                  <c:v>5.3592659999999999</c:v>
                </c:pt>
                <c:pt idx="1016">
                  <c:v>5.9641070000000003</c:v>
                </c:pt>
                <c:pt idx="1017">
                  <c:v>5.2492549999999998</c:v>
                </c:pt>
                <c:pt idx="1018">
                  <c:v>3.4774180000000001</c:v>
                </c:pt>
                <c:pt idx="1019">
                  <c:v>3.9413990000000001</c:v>
                </c:pt>
                <c:pt idx="1020">
                  <c:v>5.1293860000000002</c:v>
                </c:pt>
                <c:pt idx="1021">
                  <c:v>11.365449999999999</c:v>
                </c:pt>
                <c:pt idx="1022">
                  <c:v>3.3270580000000001</c:v>
                </c:pt>
                <c:pt idx="1023">
                  <c:v>5.1585489999999998</c:v>
                </c:pt>
                <c:pt idx="1024">
                  <c:v>6.357024</c:v>
                </c:pt>
                <c:pt idx="1025">
                  <c:v>7.6830850000000002</c:v>
                </c:pt>
                <c:pt idx="1026">
                  <c:v>8.1610289999999992</c:v>
                </c:pt>
                <c:pt idx="1027">
                  <c:v>5.0817509999999997</c:v>
                </c:pt>
                <c:pt idx="1028">
                  <c:v>6.9860189999999998</c:v>
                </c:pt>
                <c:pt idx="1029">
                  <c:v>6.5981209999999999</c:v>
                </c:pt>
                <c:pt idx="1030">
                  <c:v>8.0774939999999997</c:v>
                </c:pt>
                <c:pt idx="1031">
                  <c:v>7.6926509999999997</c:v>
                </c:pt>
                <c:pt idx="1032">
                  <c:v>9.7109959999999997</c:v>
                </c:pt>
                <c:pt idx="1033">
                  <c:v>8.3158080000000005</c:v>
                </c:pt>
                <c:pt idx="1034">
                  <c:v>6.7476770000000004</c:v>
                </c:pt>
                <c:pt idx="1035">
                  <c:v>5.3636980000000003</c:v>
                </c:pt>
                <c:pt idx="1036">
                  <c:v>5.1884269999999999</c:v>
                </c:pt>
                <c:pt idx="1037">
                  <c:v>5.4088419999999999</c:v>
                </c:pt>
                <c:pt idx="1038">
                  <c:v>4.7874999999999996</c:v>
                </c:pt>
                <c:pt idx="1039">
                  <c:v>8.1681690000000007</c:v>
                </c:pt>
                <c:pt idx="1040">
                  <c:v>7.800306</c:v>
                </c:pt>
                <c:pt idx="1041">
                  <c:v>3.8236789999999998</c:v>
                </c:pt>
                <c:pt idx="1042">
                  <c:v>3.72892</c:v>
                </c:pt>
                <c:pt idx="1043">
                  <c:v>5.5082829999999996</c:v>
                </c:pt>
                <c:pt idx="1044">
                  <c:v>8.2320630000000001</c:v>
                </c:pt>
                <c:pt idx="1045">
                  <c:v>8.0148349999999997</c:v>
                </c:pt>
                <c:pt idx="1046">
                  <c:v>6.7252989999999997</c:v>
                </c:pt>
                <c:pt idx="1047">
                  <c:v>6.617699</c:v>
                </c:pt>
                <c:pt idx="1048">
                  <c:v>15.03546</c:v>
                </c:pt>
                <c:pt idx="1049">
                  <c:v>11.32719</c:v>
                </c:pt>
                <c:pt idx="1050">
                  <c:v>11.509539999999999</c:v>
                </c:pt>
                <c:pt idx="1051">
                  <c:v>7.6007670000000003</c:v>
                </c:pt>
                <c:pt idx="1052">
                  <c:v>7.796081</c:v>
                </c:pt>
                <c:pt idx="1053">
                  <c:v>6.4536069999999999</c:v>
                </c:pt>
                <c:pt idx="1054">
                  <c:v>8.606897</c:v>
                </c:pt>
                <c:pt idx="1055">
                  <c:v>10.192740000000001</c:v>
                </c:pt>
                <c:pt idx="1056">
                  <c:v>15.249000000000001</c:v>
                </c:pt>
                <c:pt idx="1057">
                  <c:v>11.78105</c:v>
                </c:pt>
                <c:pt idx="1058">
                  <c:v>8.1134450000000005</c:v>
                </c:pt>
                <c:pt idx="1059">
                  <c:v>6.840789</c:v>
                </c:pt>
                <c:pt idx="1060">
                  <c:v>7.3629579999999999</c:v>
                </c:pt>
                <c:pt idx="1061">
                  <c:v>5.6585789999999996</c:v>
                </c:pt>
                <c:pt idx="1062">
                  <c:v>5.0070059999999996</c:v>
                </c:pt>
                <c:pt idx="1063">
                  <c:v>5.1995069999999997</c:v>
                </c:pt>
                <c:pt idx="1064">
                  <c:v>6.3209419999999996</c:v>
                </c:pt>
                <c:pt idx="1065">
                  <c:v>4.2406730000000001</c:v>
                </c:pt>
                <c:pt idx="1066">
                  <c:v>4.3408350000000002</c:v>
                </c:pt>
                <c:pt idx="1067">
                  <c:v>7.4676720000000003</c:v>
                </c:pt>
                <c:pt idx="1068">
                  <c:v>5.411994</c:v>
                </c:pt>
                <c:pt idx="1069">
                  <c:v>5.8368450000000003</c:v>
                </c:pt>
                <c:pt idx="1070">
                  <c:v>6.2397960000000001</c:v>
                </c:pt>
                <c:pt idx="1071">
                  <c:v>5.6843969999999997</c:v>
                </c:pt>
                <c:pt idx="1072">
                  <c:v>10.113189999999999</c:v>
                </c:pt>
                <c:pt idx="1073">
                  <c:v>3.9950389999999998</c:v>
                </c:pt>
                <c:pt idx="1074">
                  <c:v>3.387664</c:v>
                </c:pt>
                <c:pt idx="1075">
                  <c:v>5.2439210000000003</c:v>
                </c:pt>
                <c:pt idx="1076">
                  <c:v>3.1879119999999999</c:v>
                </c:pt>
                <c:pt idx="1077">
                  <c:v>5.4493330000000002</c:v>
                </c:pt>
                <c:pt idx="1078">
                  <c:v>6.1546940000000001</c:v>
                </c:pt>
                <c:pt idx="1079">
                  <c:v>11.948359999999999</c:v>
                </c:pt>
                <c:pt idx="1080">
                  <c:v>6.965363</c:v>
                </c:pt>
                <c:pt idx="1081">
                  <c:v>6.053871</c:v>
                </c:pt>
                <c:pt idx="1082">
                  <c:v>14.655430000000001</c:v>
                </c:pt>
                <c:pt idx="1083">
                  <c:v>5.9351700000000003</c:v>
                </c:pt>
                <c:pt idx="1084">
                  <c:v>9.5986600000000006</c:v>
                </c:pt>
                <c:pt idx="1085">
                  <c:v>9.8607200000000006</c:v>
                </c:pt>
                <c:pt idx="1086">
                  <c:v>4.2729999999999997</c:v>
                </c:pt>
                <c:pt idx="1087">
                  <c:v>5.0873369999999998</c:v>
                </c:pt>
                <c:pt idx="1088">
                  <c:v>4.4219369999999998</c:v>
                </c:pt>
                <c:pt idx="1089">
                  <c:v>7.6618449999999996</c:v>
                </c:pt>
                <c:pt idx="1090">
                  <c:v>4.3210750000000004</c:v>
                </c:pt>
                <c:pt idx="1091">
                  <c:v>4.5885179999999997</c:v>
                </c:pt>
                <c:pt idx="1092">
                  <c:v>5.2853089999999998</c:v>
                </c:pt>
                <c:pt idx="1093">
                  <c:v>10.06348</c:v>
                </c:pt>
                <c:pt idx="1094">
                  <c:v>7.2778729999999996</c:v>
                </c:pt>
                <c:pt idx="1095">
                  <c:v>6.8416899999999998</c:v>
                </c:pt>
                <c:pt idx="1096">
                  <c:v>4.4370760000000002</c:v>
                </c:pt>
                <c:pt idx="1097">
                  <c:v>2.148282</c:v>
                </c:pt>
                <c:pt idx="1098">
                  <c:v>3.5520770000000002</c:v>
                </c:pt>
                <c:pt idx="1099">
                  <c:v>4.6129910000000001</c:v>
                </c:pt>
                <c:pt idx="1100">
                  <c:v>3.6349260000000001</c:v>
                </c:pt>
                <c:pt idx="1101">
                  <c:v>6.2836629999999998</c:v>
                </c:pt>
                <c:pt idx="1102">
                  <c:v>6.8204279999999997</c:v>
                </c:pt>
                <c:pt idx="1103">
                  <c:v>4.9995820000000002</c:v>
                </c:pt>
                <c:pt idx="1104">
                  <c:v>6.1792199999999999</c:v>
                </c:pt>
                <c:pt idx="1105">
                  <c:v>3.8545240000000001</c:v>
                </c:pt>
                <c:pt idx="1106">
                  <c:v>5.0326620000000002</c:v>
                </c:pt>
                <c:pt idx="1107">
                  <c:v>3.6438619999999999</c:v>
                </c:pt>
                <c:pt idx="1108">
                  <c:v>3.7129780000000001</c:v>
                </c:pt>
                <c:pt idx="1109">
                  <c:v>4.8439959999999997</c:v>
                </c:pt>
                <c:pt idx="1110">
                  <c:v>3.1340810000000001</c:v>
                </c:pt>
                <c:pt idx="1111">
                  <c:v>4.5669560000000002</c:v>
                </c:pt>
                <c:pt idx="1112">
                  <c:v>6.9531619999999998</c:v>
                </c:pt>
                <c:pt idx="1113">
                  <c:v>7.6418990000000004</c:v>
                </c:pt>
                <c:pt idx="1114">
                  <c:v>7.6761939999999997</c:v>
                </c:pt>
                <c:pt idx="1115">
                  <c:v>7.5425149999999999</c:v>
                </c:pt>
                <c:pt idx="1116">
                  <c:v>4.7245030000000003</c:v>
                </c:pt>
                <c:pt idx="1117">
                  <c:v>5.0330370000000002</c:v>
                </c:pt>
                <c:pt idx="1118">
                  <c:v>6.1129790000000002</c:v>
                </c:pt>
                <c:pt idx="1119">
                  <c:v>7.1674829999999998</c:v>
                </c:pt>
                <c:pt idx="1120">
                  <c:v>4.7090449999999997</c:v>
                </c:pt>
                <c:pt idx="1121">
                  <c:v>5.4854019999999997</c:v>
                </c:pt>
                <c:pt idx="1122">
                  <c:v>4.8651479999999996</c:v>
                </c:pt>
                <c:pt idx="1123">
                  <c:v>9.0438089999999995</c:v>
                </c:pt>
                <c:pt idx="1124">
                  <c:v>5.4169970000000003</c:v>
                </c:pt>
                <c:pt idx="1125">
                  <c:v>3.7258</c:v>
                </c:pt>
                <c:pt idx="1126">
                  <c:v>4.9517749999999996</c:v>
                </c:pt>
                <c:pt idx="1127">
                  <c:v>4.4962369999999998</c:v>
                </c:pt>
                <c:pt idx="1128">
                  <c:v>6.9376819999999997</c:v>
                </c:pt>
                <c:pt idx="1129">
                  <c:v>4.9430069999999997</c:v>
                </c:pt>
                <c:pt idx="1130">
                  <c:v>3.985789</c:v>
                </c:pt>
                <c:pt idx="1131">
                  <c:v>4.1949269999999999</c:v>
                </c:pt>
                <c:pt idx="1132">
                  <c:v>5.1431209999999998</c:v>
                </c:pt>
                <c:pt idx="1133">
                  <c:v>5.5783019999999999</c:v>
                </c:pt>
                <c:pt idx="1134">
                  <c:v>4.4648950000000003</c:v>
                </c:pt>
                <c:pt idx="1135">
                  <c:v>8.6817709999999995</c:v>
                </c:pt>
                <c:pt idx="1136">
                  <c:v>8.4391040000000004</c:v>
                </c:pt>
                <c:pt idx="1137">
                  <c:v>14.85979</c:v>
                </c:pt>
                <c:pt idx="1138">
                  <c:v>7.9505879999999998</c:v>
                </c:pt>
                <c:pt idx="1139">
                  <c:v>6.9606139999999996</c:v>
                </c:pt>
                <c:pt idx="1140">
                  <c:v>9.778098</c:v>
                </c:pt>
                <c:pt idx="1141">
                  <c:v>7.9768020000000002</c:v>
                </c:pt>
                <c:pt idx="1142">
                  <c:v>5.7369089999999998</c:v>
                </c:pt>
                <c:pt idx="1143">
                  <c:v>4.9670240000000003</c:v>
                </c:pt>
                <c:pt idx="1144">
                  <c:v>3.79088</c:v>
                </c:pt>
                <c:pt idx="1145">
                  <c:v>3.37114</c:v>
                </c:pt>
                <c:pt idx="1146">
                  <c:v>6.6657539999999997</c:v>
                </c:pt>
                <c:pt idx="1147">
                  <c:v>5.5682980000000004</c:v>
                </c:pt>
                <c:pt idx="1148">
                  <c:v>4.214137</c:v>
                </c:pt>
                <c:pt idx="1149">
                  <c:v>3.7620200000000001</c:v>
                </c:pt>
                <c:pt idx="1150">
                  <c:v>3.6688360000000002</c:v>
                </c:pt>
                <c:pt idx="1151">
                  <c:v>6.2218249999999999</c:v>
                </c:pt>
                <c:pt idx="1152">
                  <c:v>4.6317380000000004</c:v>
                </c:pt>
                <c:pt idx="1153">
                  <c:v>7.4841949999999997</c:v>
                </c:pt>
                <c:pt idx="1154">
                  <c:v>4.1675589999999998</c:v>
                </c:pt>
                <c:pt idx="1155">
                  <c:v>4.5994979999999996</c:v>
                </c:pt>
                <c:pt idx="1156">
                  <c:v>6.207573</c:v>
                </c:pt>
                <c:pt idx="1157">
                  <c:v>2.9263460000000001</c:v>
                </c:pt>
                <c:pt idx="1158">
                  <c:v>4.1174359999999997</c:v>
                </c:pt>
                <c:pt idx="1159">
                  <c:v>6.126798</c:v>
                </c:pt>
                <c:pt idx="1160">
                  <c:v>4.8524419999999999</c:v>
                </c:pt>
                <c:pt idx="1161">
                  <c:v>3.8717549999999998</c:v>
                </c:pt>
                <c:pt idx="1162">
                  <c:v>4.5589589999999998</c:v>
                </c:pt>
                <c:pt idx="1163">
                  <c:v>4.0188050000000004</c:v>
                </c:pt>
                <c:pt idx="1164">
                  <c:v>4.2054429999999998</c:v>
                </c:pt>
                <c:pt idx="1165">
                  <c:v>4.8099069999999999</c:v>
                </c:pt>
                <c:pt idx="1166">
                  <c:v>6.5100629999999997</c:v>
                </c:pt>
                <c:pt idx="1167">
                  <c:v>6.4921360000000004</c:v>
                </c:pt>
                <c:pt idx="1168">
                  <c:v>2.9221050000000002</c:v>
                </c:pt>
                <c:pt idx="1169">
                  <c:v>3.2484359999999999</c:v>
                </c:pt>
                <c:pt idx="1170">
                  <c:v>3.9789020000000002</c:v>
                </c:pt>
                <c:pt idx="1171">
                  <c:v>4.6521869999999996</c:v>
                </c:pt>
                <c:pt idx="1172">
                  <c:v>4.102919</c:v>
                </c:pt>
                <c:pt idx="1173">
                  <c:v>3.3896630000000001</c:v>
                </c:pt>
                <c:pt idx="1174">
                  <c:v>2.8983370000000002</c:v>
                </c:pt>
                <c:pt idx="1175">
                  <c:v>3.2361550000000001</c:v>
                </c:pt>
                <c:pt idx="1176">
                  <c:v>4.3656519999999999</c:v>
                </c:pt>
                <c:pt idx="1177">
                  <c:v>4.8414900000000003</c:v>
                </c:pt>
                <c:pt idx="1178">
                  <c:v>5.0974050000000002</c:v>
                </c:pt>
                <c:pt idx="1179">
                  <c:v>5.9862760000000002</c:v>
                </c:pt>
                <c:pt idx="1180">
                  <c:v>5.6880660000000001</c:v>
                </c:pt>
                <c:pt idx="1181">
                  <c:v>7.3707479999999999</c:v>
                </c:pt>
                <c:pt idx="1182">
                  <c:v>6.0570519999999997</c:v>
                </c:pt>
                <c:pt idx="1183">
                  <c:v>5.6928130000000001</c:v>
                </c:pt>
                <c:pt idx="1184">
                  <c:v>8.5842690000000008</c:v>
                </c:pt>
                <c:pt idx="1185">
                  <c:v>7.9802379999999999</c:v>
                </c:pt>
                <c:pt idx="1186">
                  <c:v>12.286479999999999</c:v>
                </c:pt>
                <c:pt idx="1187">
                  <c:v>6.482653</c:v>
                </c:pt>
                <c:pt idx="1188">
                  <c:v>4.1634760000000002</c:v>
                </c:pt>
                <c:pt idx="1189">
                  <c:v>3.3568600000000002</c:v>
                </c:pt>
                <c:pt idx="1190">
                  <c:v>4.1109270000000002</c:v>
                </c:pt>
                <c:pt idx="1191">
                  <c:v>7.01661</c:v>
                </c:pt>
                <c:pt idx="1192">
                  <c:v>3.9068999999999998</c:v>
                </c:pt>
                <c:pt idx="1193">
                  <c:v>4.0844370000000003</c:v>
                </c:pt>
                <c:pt idx="1194">
                  <c:v>3.4798659999999999</c:v>
                </c:pt>
                <c:pt idx="1195">
                  <c:v>4.1998329999999999</c:v>
                </c:pt>
                <c:pt idx="1196">
                  <c:v>5.6653130000000003</c:v>
                </c:pt>
                <c:pt idx="1197">
                  <c:v>5.6372070000000001</c:v>
                </c:pt>
                <c:pt idx="1198">
                  <c:v>2.4547639999999999</c:v>
                </c:pt>
                <c:pt idx="1199">
                  <c:v>4.7233200000000002</c:v>
                </c:pt>
                <c:pt idx="1200">
                  <c:v>6.0477639999999999</c:v>
                </c:pt>
                <c:pt idx="1201">
                  <c:v>8.3662869999999998</c:v>
                </c:pt>
                <c:pt idx="1202">
                  <c:v>3.892541</c:v>
                </c:pt>
                <c:pt idx="1203">
                  <c:v>5.3024820000000004</c:v>
                </c:pt>
                <c:pt idx="1204">
                  <c:v>9.3438630000000007</c:v>
                </c:pt>
                <c:pt idx="1205">
                  <c:v>8.7140520000000006</c:v>
                </c:pt>
                <c:pt idx="1206">
                  <c:v>8.2717650000000003</c:v>
                </c:pt>
                <c:pt idx="1207">
                  <c:v>8.5006599999999999</c:v>
                </c:pt>
                <c:pt idx="1208">
                  <c:v>7.4095219999999999</c:v>
                </c:pt>
                <c:pt idx="1209">
                  <c:v>9.9022100000000002</c:v>
                </c:pt>
                <c:pt idx="1210">
                  <c:v>9.3667300000000004</c:v>
                </c:pt>
                <c:pt idx="1211">
                  <c:v>6.0768579999999996</c:v>
                </c:pt>
                <c:pt idx="1212">
                  <c:v>7.1633800000000001</c:v>
                </c:pt>
                <c:pt idx="1213">
                  <c:v>7.3655660000000003</c:v>
                </c:pt>
                <c:pt idx="1214">
                  <c:v>9.1177240000000008</c:v>
                </c:pt>
                <c:pt idx="1215">
                  <c:v>8.3374509999999997</c:v>
                </c:pt>
                <c:pt idx="1216">
                  <c:v>4.358384</c:v>
                </c:pt>
                <c:pt idx="1217">
                  <c:v>6.0483440000000002</c:v>
                </c:pt>
                <c:pt idx="1218">
                  <c:v>7.8089180000000002</c:v>
                </c:pt>
                <c:pt idx="1219">
                  <c:v>6.8857390000000001</c:v>
                </c:pt>
                <c:pt idx="1220">
                  <c:v>7.3854620000000004</c:v>
                </c:pt>
                <c:pt idx="1221">
                  <c:v>10.45866</c:v>
                </c:pt>
                <c:pt idx="1222">
                  <c:v>8.1196970000000004</c:v>
                </c:pt>
                <c:pt idx="1223">
                  <c:v>8.6240690000000004</c:v>
                </c:pt>
                <c:pt idx="1224">
                  <c:v>4.4739079999999998</c:v>
                </c:pt>
                <c:pt idx="1225">
                  <c:v>4.5908199999999999</c:v>
                </c:pt>
                <c:pt idx="1226">
                  <c:v>4.673063</c:v>
                </c:pt>
                <c:pt idx="1227">
                  <c:v>5.802308</c:v>
                </c:pt>
                <c:pt idx="1228">
                  <c:v>5.8829789999999997</c:v>
                </c:pt>
                <c:pt idx="1229">
                  <c:v>5.2251190000000003</c:v>
                </c:pt>
                <c:pt idx="1230">
                  <c:v>5.9893229999999997</c:v>
                </c:pt>
                <c:pt idx="1231">
                  <c:v>7.1593460000000002</c:v>
                </c:pt>
                <c:pt idx="1232">
                  <c:v>4.1999129999999996</c:v>
                </c:pt>
                <c:pt idx="1233">
                  <c:v>5.775569</c:v>
                </c:pt>
                <c:pt idx="1234">
                  <c:v>7.0715830000000004</c:v>
                </c:pt>
                <c:pt idx="1235">
                  <c:v>5.2532969999999999</c:v>
                </c:pt>
                <c:pt idx="1236">
                  <c:v>4.9430519999999998</c:v>
                </c:pt>
                <c:pt idx="1237">
                  <c:v>6.3201369999999999</c:v>
                </c:pt>
                <c:pt idx="1238">
                  <c:v>5.8931069999999997</c:v>
                </c:pt>
                <c:pt idx="1239">
                  <c:v>6.5513979999999998</c:v>
                </c:pt>
                <c:pt idx="1240">
                  <c:v>4.5797369999999997</c:v>
                </c:pt>
                <c:pt idx="1241">
                  <c:v>6.1521350000000004</c:v>
                </c:pt>
                <c:pt idx="1242">
                  <c:v>5.1191069999999996</c:v>
                </c:pt>
                <c:pt idx="1243">
                  <c:v>6.014062</c:v>
                </c:pt>
                <c:pt idx="1244">
                  <c:v>7.487495</c:v>
                </c:pt>
                <c:pt idx="1245">
                  <c:v>5.5909509999999996</c:v>
                </c:pt>
                <c:pt idx="1246">
                  <c:v>6.7931059999999999</c:v>
                </c:pt>
                <c:pt idx="1247">
                  <c:v>6.726712</c:v>
                </c:pt>
                <c:pt idx="1248">
                  <c:v>7.5198130000000001</c:v>
                </c:pt>
                <c:pt idx="1249">
                  <c:v>5.8719109999999999</c:v>
                </c:pt>
                <c:pt idx="1250">
                  <c:v>13.45462</c:v>
                </c:pt>
                <c:pt idx="1251">
                  <c:v>10.130330000000001</c:v>
                </c:pt>
                <c:pt idx="1252">
                  <c:v>8.0684729999999991</c:v>
                </c:pt>
                <c:pt idx="1253">
                  <c:v>11.426959999999999</c:v>
                </c:pt>
                <c:pt idx="1254">
                  <c:v>4.7788449999999996</c:v>
                </c:pt>
                <c:pt idx="1255">
                  <c:v>4.8718859999999999</c:v>
                </c:pt>
                <c:pt idx="1256">
                  <c:v>4.3212029999999997</c:v>
                </c:pt>
                <c:pt idx="1257">
                  <c:v>5.3278169999999996</c:v>
                </c:pt>
                <c:pt idx="1258">
                  <c:v>6.0673440000000003</c:v>
                </c:pt>
                <c:pt idx="1259">
                  <c:v>7.76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67-4127-B36F-0C218379E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89957568"/>
        <c:axId val="1189960480"/>
      </c:barChart>
      <c:lineChart>
        <c:grouping val="standard"/>
        <c:varyColors val="0"/>
        <c:ser>
          <c:idx val="0"/>
          <c:order val="0"/>
          <c:tx>
            <c:strRef>
              <c:f>HistoricalData_1649215114570!$B$1</c:f>
              <c:strCache>
                <c:ptCount val="1"/>
                <c:pt idx="0">
                  <c:v>Price</c:v>
                </c:pt>
              </c:strCache>
            </c:strRef>
          </c:tx>
          <c:spPr>
            <a:ln w="1905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istoricalData_1649215114570!$A$2:$A$1261</c:f>
              <c:numCache>
                <c:formatCode>[$-409]mmm\-yy;@</c:formatCode>
                <c:ptCount val="1260"/>
                <c:pt idx="0">
                  <c:v>44656</c:v>
                </c:pt>
                <c:pt idx="1">
                  <c:v>44655</c:v>
                </c:pt>
                <c:pt idx="2">
                  <c:v>44652</c:v>
                </c:pt>
                <c:pt idx="3">
                  <c:v>44651</c:v>
                </c:pt>
                <c:pt idx="4">
                  <c:v>44650</c:v>
                </c:pt>
                <c:pt idx="5">
                  <c:v>44649</c:v>
                </c:pt>
                <c:pt idx="6">
                  <c:v>44648</c:v>
                </c:pt>
                <c:pt idx="7">
                  <c:v>44645</c:v>
                </c:pt>
                <c:pt idx="8">
                  <c:v>44644</c:v>
                </c:pt>
                <c:pt idx="9">
                  <c:v>44643</c:v>
                </c:pt>
                <c:pt idx="10">
                  <c:v>44642</c:v>
                </c:pt>
                <c:pt idx="11">
                  <c:v>44641</c:v>
                </c:pt>
                <c:pt idx="12">
                  <c:v>44638</c:v>
                </c:pt>
                <c:pt idx="13">
                  <c:v>44637</c:v>
                </c:pt>
                <c:pt idx="14">
                  <c:v>44636</c:v>
                </c:pt>
                <c:pt idx="15">
                  <c:v>44635</c:v>
                </c:pt>
                <c:pt idx="16">
                  <c:v>44634</c:v>
                </c:pt>
                <c:pt idx="17">
                  <c:v>44631</c:v>
                </c:pt>
                <c:pt idx="18">
                  <c:v>44630</c:v>
                </c:pt>
                <c:pt idx="19">
                  <c:v>44629</c:v>
                </c:pt>
                <c:pt idx="20">
                  <c:v>44628</c:v>
                </c:pt>
                <c:pt idx="21">
                  <c:v>44627</c:v>
                </c:pt>
                <c:pt idx="22">
                  <c:v>44624</c:v>
                </c:pt>
                <c:pt idx="23">
                  <c:v>44623</c:v>
                </c:pt>
                <c:pt idx="24">
                  <c:v>44622</c:v>
                </c:pt>
                <c:pt idx="25">
                  <c:v>44621</c:v>
                </c:pt>
                <c:pt idx="26">
                  <c:v>44620</c:v>
                </c:pt>
                <c:pt idx="27">
                  <c:v>44617</c:v>
                </c:pt>
                <c:pt idx="28">
                  <c:v>44616</c:v>
                </c:pt>
                <c:pt idx="29">
                  <c:v>44615</c:v>
                </c:pt>
                <c:pt idx="30">
                  <c:v>44614</c:v>
                </c:pt>
                <c:pt idx="31">
                  <c:v>44610</c:v>
                </c:pt>
                <c:pt idx="32">
                  <c:v>44609</c:v>
                </c:pt>
                <c:pt idx="33">
                  <c:v>44608</c:v>
                </c:pt>
                <c:pt idx="34">
                  <c:v>44607</c:v>
                </c:pt>
                <c:pt idx="35">
                  <c:v>44606</c:v>
                </c:pt>
                <c:pt idx="36">
                  <c:v>44603</c:v>
                </c:pt>
                <c:pt idx="37">
                  <c:v>44602</c:v>
                </c:pt>
                <c:pt idx="38">
                  <c:v>44601</c:v>
                </c:pt>
                <c:pt idx="39">
                  <c:v>44600</c:v>
                </c:pt>
                <c:pt idx="40">
                  <c:v>44599</c:v>
                </c:pt>
                <c:pt idx="41">
                  <c:v>44596</c:v>
                </c:pt>
                <c:pt idx="42">
                  <c:v>44595</c:v>
                </c:pt>
                <c:pt idx="43">
                  <c:v>44594</c:v>
                </c:pt>
                <c:pt idx="44">
                  <c:v>44593</c:v>
                </c:pt>
                <c:pt idx="45">
                  <c:v>44592</c:v>
                </c:pt>
                <c:pt idx="46">
                  <c:v>44589</c:v>
                </c:pt>
                <c:pt idx="47">
                  <c:v>44588</c:v>
                </c:pt>
                <c:pt idx="48">
                  <c:v>44587</c:v>
                </c:pt>
                <c:pt idx="49">
                  <c:v>44586</c:v>
                </c:pt>
                <c:pt idx="50">
                  <c:v>44585</c:v>
                </c:pt>
                <c:pt idx="51">
                  <c:v>44582</c:v>
                </c:pt>
                <c:pt idx="52">
                  <c:v>44581</c:v>
                </c:pt>
                <c:pt idx="53">
                  <c:v>44580</c:v>
                </c:pt>
                <c:pt idx="54">
                  <c:v>44579</c:v>
                </c:pt>
                <c:pt idx="55">
                  <c:v>44575</c:v>
                </c:pt>
                <c:pt idx="56">
                  <c:v>44574</c:v>
                </c:pt>
                <c:pt idx="57">
                  <c:v>44573</c:v>
                </c:pt>
                <c:pt idx="58">
                  <c:v>44572</c:v>
                </c:pt>
                <c:pt idx="59">
                  <c:v>44571</c:v>
                </c:pt>
                <c:pt idx="60">
                  <c:v>44568</c:v>
                </c:pt>
                <c:pt idx="61">
                  <c:v>44567</c:v>
                </c:pt>
                <c:pt idx="62">
                  <c:v>44566</c:v>
                </c:pt>
                <c:pt idx="63">
                  <c:v>44565</c:v>
                </c:pt>
                <c:pt idx="64">
                  <c:v>44564</c:v>
                </c:pt>
                <c:pt idx="65">
                  <c:v>44561</c:v>
                </c:pt>
                <c:pt idx="66">
                  <c:v>44560</c:v>
                </c:pt>
                <c:pt idx="67">
                  <c:v>44559</c:v>
                </c:pt>
                <c:pt idx="68">
                  <c:v>44558</c:v>
                </c:pt>
                <c:pt idx="69">
                  <c:v>44557</c:v>
                </c:pt>
                <c:pt idx="70">
                  <c:v>44553</c:v>
                </c:pt>
                <c:pt idx="71">
                  <c:v>44552</c:v>
                </c:pt>
                <c:pt idx="72">
                  <c:v>44551</c:v>
                </c:pt>
                <c:pt idx="73">
                  <c:v>44550</c:v>
                </c:pt>
                <c:pt idx="74">
                  <c:v>44547</c:v>
                </c:pt>
                <c:pt idx="75">
                  <c:v>44546</c:v>
                </c:pt>
                <c:pt idx="76">
                  <c:v>44545</c:v>
                </c:pt>
                <c:pt idx="77">
                  <c:v>44544</c:v>
                </c:pt>
                <c:pt idx="78">
                  <c:v>44543</c:v>
                </c:pt>
                <c:pt idx="79">
                  <c:v>44540</c:v>
                </c:pt>
                <c:pt idx="80">
                  <c:v>44539</c:v>
                </c:pt>
                <c:pt idx="81">
                  <c:v>44538</c:v>
                </c:pt>
                <c:pt idx="82">
                  <c:v>44537</c:v>
                </c:pt>
                <c:pt idx="83">
                  <c:v>44536</c:v>
                </c:pt>
                <c:pt idx="84">
                  <c:v>44533</c:v>
                </c:pt>
                <c:pt idx="85">
                  <c:v>44532</c:v>
                </c:pt>
                <c:pt idx="86">
                  <c:v>44531</c:v>
                </c:pt>
                <c:pt idx="87">
                  <c:v>44530</c:v>
                </c:pt>
                <c:pt idx="88">
                  <c:v>44529</c:v>
                </c:pt>
                <c:pt idx="89">
                  <c:v>44526</c:v>
                </c:pt>
                <c:pt idx="90">
                  <c:v>44524</c:v>
                </c:pt>
                <c:pt idx="91">
                  <c:v>44523</c:v>
                </c:pt>
                <c:pt idx="92">
                  <c:v>44522</c:v>
                </c:pt>
                <c:pt idx="93">
                  <c:v>44519</c:v>
                </c:pt>
                <c:pt idx="94">
                  <c:v>44518</c:v>
                </c:pt>
                <c:pt idx="95">
                  <c:v>44517</c:v>
                </c:pt>
                <c:pt idx="96">
                  <c:v>44516</c:v>
                </c:pt>
                <c:pt idx="97">
                  <c:v>44515</c:v>
                </c:pt>
                <c:pt idx="98">
                  <c:v>44512</c:v>
                </c:pt>
                <c:pt idx="99">
                  <c:v>44511</c:v>
                </c:pt>
                <c:pt idx="100">
                  <c:v>44510</c:v>
                </c:pt>
                <c:pt idx="101">
                  <c:v>44509</c:v>
                </c:pt>
                <c:pt idx="102">
                  <c:v>44508</c:v>
                </c:pt>
                <c:pt idx="103">
                  <c:v>44505</c:v>
                </c:pt>
                <c:pt idx="104">
                  <c:v>44504</c:v>
                </c:pt>
                <c:pt idx="105">
                  <c:v>44503</c:v>
                </c:pt>
                <c:pt idx="106">
                  <c:v>44502</c:v>
                </c:pt>
                <c:pt idx="107">
                  <c:v>44501</c:v>
                </c:pt>
                <c:pt idx="108">
                  <c:v>44498</c:v>
                </c:pt>
                <c:pt idx="109">
                  <c:v>44497</c:v>
                </c:pt>
                <c:pt idx="110">
                  <c:v>44496</c:v>
                </c:pt>
                <c:pt idx="111">
                  <c:v>44495</c:v>
                </c:pt>
                <c:pt idx="112">
                  <c:v>44494</c:v>
                </c:pt>
                <c:pt idx="113">
                  <c:v>44491</c:v>
                </c:pt>
                <c:pt idx="114">
                  <c:v>44490</c:v>
                </c:pt>
                <c:pt idx="115">
                  <c:v>44489</c:v>
                </c:pt>
                <c:pt idx="116">
                  <c:v>44488</c:v>
                </c:pt>
                <c:pt idx="117">
                  <c:v>44487</c:v>
                </c:pt>
                <c:pt idx="118">
                  <c:v>44484</c:v>
                </c:pt>
                <c:pt idx="119">
                  <c:v>44483</c:v>
                </c:pt>
                <c:pt idx="120">
                  <c:v>44482</c:v>
                </c:pt>
                <c:pt idx="121">
                  <c:v>44481</c:v>
                </c:pt>
                <c:pt idx="122">
                  <c:v>44480</c:v>
                </c:pt>
                <c:pt idx="123">
                  <c:v>44477</c:v>
                </c:pt>
                <c:pt idx="124">
                  <c:v>44476</c:v>
                </c:pt>
                <c:pt idx="125">
                  <c:v>44475</c:v>
                </c:pt>
                <c:pt idx="126">
                  <c:v>44474</c:v>
                </c:pt>
                <c:pt idx="127">
                  <c:v>44473</c:v>
                </c:pt>
                <c:pt idx="128">
                  <c:v>44470</c:v>
                </c:pt>
                <c:pt idx="129">
                  <c:v>44469</c:v>
                </c:pt>
                <c:pt idx="130">
                  <c:v>44468</c:v>
                </c:pt>
                <c:pt idx="131">
                  <c:v>44467</c:v>
                </c:pt>
                <c:pt idx="132">
                  <c:v>44466</c:v>
                </c:pt>
                <c:pt idx="133">
                  <c:v>44463</c:v>
                </c:pt>
                <c:pt idx="134">
                  <c:v>44462</c:v>
                </c:pt>
                <c:pt idx="135">
                  <c:v>44461</c:v>
                </c:pt>
                <c:pt idx="136">
                  <c:v>44460</c:v>
                </c:pt>
                <c:pt idx="137">
                  <c:v>44459</c:v>
                </c:pt>
                <c:pt idx="138">
                  <c:v>44456</c:v>
                </c:pt>
                <c:pt idx="139">
                  <c:v>44455</c:v>
                </c:pt>
                <c:pt idx="140">
                  <c:v>44454</c:v>
                </c:pt>
                <c:pt idx="141">
                  <c:v>44453</c:v>
                </c:pt>
                <c:pt idx="142">
                  <c:v>44452</c:v>
                </c:pt>
                <c:pt idx="143">
                  <c:v>44449</c:v>
                </c:pt>
                <c:pt idx="144">
                  <c:v>44448</c:v>
                </c:pt>
                <c:pt idx="145">
                  <c:v>44447</c:v>
                </c:pt>
                <c:pt idx="146">
                  <c:v>44446</c:v>
                </c:pt>
                <c:pt idx="147">
                  <c:v>44442</c:v>
                </c:pt>
                <c:pt idx="148">
                  <c:v>44441</c:v>
                </c:pt>
                <c:pt idx="149">
                  <c:v>44440</c:v>
                </c:pt>
                <c:pt idx="150">
                  <c:v>44439</c:v>
                </c:pt>
                <c:pt idx="151">
                  <c:v>44438</c:v>
                </c:pt>
                <c:pt idx="152">
                  <c:v>44435</c:v>
                </c:pt>
                <c:pt idx="153">
                  <c:v>44434</c:v>
                </c:pt>
                <c:pt idx="154">
                  <c:v>44433</c:v>
                </c:pt>
                <c:pt idx="155">
                  <c:v>44432</c:v>
                </c:pt>
                <c:pt idx="156">
                  <c:v>44431</c:v>
                </c:pt>
                <c:pt idx="157">
                  <c:v>44428</c:v>
                </c:pt>
                <c:pt idx="158">
                  <c:v>44427</c:v>
                </c:pt>
                <c:pt idx="159">
                  <c:v>44426</c:v>
                </c:pt>
                <c:pt idx="160">
                  <c:v>44425</c:v>
                </c:pt>
                <c:pt idx="161">
                  <c:v>44424</c:v>
                </c:pt>
                <c:pt idx="162">
                  <c:v>44421</c:v>
                </c:pt>
                <c:pt idx="163">
                  <c:v>44420</c:v>
                </c:pt>
                <c:pt idx="164">
                  <c:v>44419</c:v>
                </c:pt>
                <c:pt idx="165">
                  <c:v>44418</c:v>
                </c:pt>
                <c:pt idx="166">
                  <c:v>44417</c:v>
                </c:pt>
                <c:pt idx="167">
                  <c:v>44414</c:v>
                </c:pt>
                <c:pt idx="168">
                  <c:v>44413</c:v>
                </c:pt>
                <c:pt idx="169">
                  <c:v>44412</c:v>
                </c:pt>
                <c:pt idx="170">
                  <c:v>44411</c:v>
                </c:pt>
                <c:pt idx="171">
                  <c:v>44410</c:v>
                </c:pt>
                <c:pt idx="172">
                  <c:v>44407</c:v>
                </c:pt>
                <c:pt idx="173">
                  <c:v>44406</c:v>
                </c:pt>
                <c:pt idx="174">
                  <c:v>44405</c:v>
                </c:pt>
                <c:pt idx="175">
                  <c:v>44404</c:v>
                </c:pt>
                <c:pt idx="176">
                  <c:v>44403</c:v>
                </c:pt>
                <c:pt idx="177">
                  <c:v>44400</c:v>
                </c:pt>
                <c:pt idx="178">
                  <c:v>44399</c:v>
                </c:pt>
                <c:pt idx="179">
                  <c:v>44398</c:v>
                </c:pt>
                <c:pt idx="180">
                  <c:v>44397</c:v>
                </c:pt>
                <c:pt idx="181">
                  <c:v>44396</c:v>
                </c:pt>
                <c:pt idx="182">
                  <c:v>44393</c:v>
                </c:pt>
                <c:pt idx="183">
                  <c:v>44392</c:v>
                </c:pt>
                <c:pt idx="184">
                  <c:v>44391</c:v>
                </c:pt>
                <c:pt idx="185">
                  <c:v>44390</c:v>
                </c:pt>
                <c:pt idx="186">
                  <c:v>44389</c:v>
                </c:pt>
                <c:pt idx="187">
                  <c:v>44386</c:v>
                </c:pt>
                <c:pt idx="188">
                  <c:v>44385</c:v>
                </c:pt>
                <c:pt idx="189">
                  <c:v>44384</c:v>
                </c:pt>
                <c:pt idx="190">
                  <c:v>44383</c:v>
                </c:pt>
                <c:pt idx="191">
                  <c:v>44379</c:v>
                </c:pt>
                <c:pt idx="192">
                  <c:v>44378</c:v>
                </c:pt>
                <c:pt idx="193">
                  <c:v>44377</c:v>
                </c:pt>
                <c:pt idx="194">
                  <c:v>44376</c:v>
                </c:pt>
                <c:pt idx="195">
                  <c:v>44375</c:v>
                </c:pt>
                <c:pt idx="196">
                  <c:v>44372</c:v>
                </c:pt>
                <c:pt idx="197">
                  <c:v>44371</c:v>
                </c:pt>
                <c:pt idx="198">
                  <c:v>44370</c:v>
                </c:pt>
                <c:pt idx="199">
                  <c:v>44369</c:v>
                </c:pt>
                <c:pt idx="200">
                  <c:v>44368</c:v>
                </c:pt>
                <c:pt idx="201">
                  <c:v>44365</c:v>
                </c:pt>
                <c:pt idx="202">
                  <c:v>44364</c:v>
                </c:pt>
                <c:pt idx="203">
                  <c:v>44363</c:v>
                </c:pt>
                <c:pt idx="204">
                  <c:v>44362</c:v>
                </c:pt>
                <c:pt idx="205">
                  <c:v>44361</c:v>
                </c:pt>
                <c:pt idx="206">
                  <c:v>44358</c:v>
                </c:pt>
                <c:pt idx="207">
                  <c:v>44357</c:v>
                </c:pt>
                <c:pt idx="208">
                  <c:v>44356</c:v>
                </c:pt>
                <c:pt idx="209">
                  <c:v>44355</c:v>
                </c:pt>
                <c:pt idx="210">
                  <c:v>44354</c:v>
                </c:pt>
                <c:pt idx="211">
                  <c:v>44351</c:v>
                </c:pt>
                <c:pt idx="212">
                  <c:v>44350</c:v>
                </c:pt>
                <c:pt idx="213">
                  <c:v>44349</c:v>
                </c:pt>
                <c:pt idx="214">
                  <c:v>44348</c:v>
                </c:pt>
                <c:pt idx="215">
                  <c:v>44344</c:v>
                </c:pt>
                <c:pt idx="216">
                  <c:v>44343</c:v>
                </c:pt>
                <c:pt idx="217">
                  <c:v>44342</c:v>
                </c:pt>
                <c:pt idx="218">
                  <c:v>44341</c:v>
                </c:pt>
                <c:pt idx="219">
                  <c:v>44340</c:v>
                </c:pt>
                <c:pt idx="220">
                  <c:v>44337</c:v>
                </c:pt>
                <c:pt idx="221">
                  <c:v>44336</c:v>
                </c:pt>
                <c:pt idx="222">
                  <c:v>44335</c:v>
                </c:pt>
                <c:pt idx="223">
                  <c:v>44334</c:v>
                </c:pt>
                <c:pt idx="224">
                  <c:v>44333</c:v>
                </c:pt>
                <c:pt idx="225">
                  <c:v>44330</c:v>
                </c:pt>
                <c:pt idx="226">
                  <c:v>44329</c:v>
                </c:pt>
                <c:pt idx="227">
                  <c:v>44328</c:v>
                </c:pt>
                <c:pt idx="228">
                  <c:v>44327</c:v>
                </c:pt>
                <c:pt idx="229">
                  <c:v>44326</c:v>
                </c:pt>
                <c:pt idx="230">
                  <c:v>44323</c:v>
                </c:pt>
                <c:pt idx="231">
                  <c:v>44322</c:v>
                </c:pt>
                <c:pt idx="232">
                  <c:v>44321</c:v>
                </c:pt>
                <c:pt idx="233">
                  <c:v>44320</c:v>
                </c:pt>
                <c:pt idx="234">
                  <c:v>44319</c:v>
                </c:pt>
                <c:pt idx="235">
                  <c:v>44316</c:v>
                </c:pt>
                <c:pt idx="236">
                  <c:v>44315</c:v>
                </c:pt>
                <c:pt idx="237">
                  <c:v>44314</c:v>
                </c:pt>
                <c:pt idx="238">
                  <c:v>44313</c:v>
                </c:pt>
                <c:pt idx="239">
                  <c:v>44312</c:v>
                </c:pt>
                <c:pt idx="240">
                  <c:v>44309</c:v>
                </c:pt>
                <c:pt idx="241">
                  <c:v>44308</c:v>
                </c:pt>
                <c:pt idx="242">
                  <c:v>44307</c:v>
                </c:pt>
                <c:pt idx="243">
                  <c:v>44306</c:v>
                </c:pt>
                <c:pt idx="244">
                  <c:v>44305</c:v>
                </c:pt>
                <c:pt idx="245">
                  <c:v>44302</c:v>
                </c:pt>
                <c:pt idx="246">
                  <c:v>44301</c:v>
                </c:pt>
                <c:pt idx="247">
                  <c:v>44300</c:v>
                </c:pt>
                <c:pt idx="248">
                  <c:v>44299</c:v>
                </c:pt>
                <c:pt idx="249">
                  <c:v>44298</c:v>
                </c:pt>
                <c:pt idx="250">
                  <c:v>44295</c:v>
                </c:pt>
                <c:pt idx="251">
                  <c:v>44294</c:v>
                </c:pt>
                <c:pt idx="252">
                  <c:v>44293</c:v>
                </c:pt>
                <c:pt idx="253">
                  <c:v>44292</c:v>
                </c:pt>
                <c:pt idx="254">
                  <c:v>44291</c:v>
                </c:pt>
                <c:pt idx="255">
                  <c:v>44287</c:v>
                </c:pt>
                <c:pt idx="256">
                  <c:v>44286</c:v>
                </c:pt>
                <c:pt idx="257">
                  <c:v>44285</c:v>
                </c:pt>
                <c:pt idx="258">
                  <c:v>44284</c:v>
                </c:pt>
                <c:pt idx="259">
                  <c:v>44281</c:v>
                </c:pt>
                <c:pt idx="260">
                  <c:v>44280</c:v>
                </c:pt>
                <c:pt idx="261">
                  <c:v>44279</c:v>
                </c:pt>
                <c:pt idx="262">
                  <c:v>44278</c:v>
                </c:pt>
                <c:pt idx="263">
                  <c:v>44277</c:v>
                </c:pt>
                <c:pt idx="264">
                  <c:v>44274</c:v>
                </c:pt>
                <c:pt idx="265">
                  <c:v>44273</c:v>
                </c:pt>
                <c:pt idx="266">
                  <c:v>44272</c:v>
                </c:pt>
                <c:pt idx="267">
                  <c:v>44271</c:v>
                </c:pt>
                <c:pt idx="268">
                  <c:v>44270</c:v>
                </c:pt>
                <c:pt idx="269">
                  <c:v>44267</c:v>
                </c:pt>
                <c:pt idx="270">
                  <c:v>44266</c:v>
                </c:pt>
                <c:pt idx="271">
                  <c:v>44265</c:v>
                </c:pt>
                <c:pt idx="272">
                  <c:v>44264</c:v>
                </c:pt>
                <c:pt idx="273">
                  <c:v>44263</c:v>
                </c:pt>
                <c:pt idx="274">
                  <c:v>44260</c:v>
                </c:pt>
                <c:pt idx="275">
                  <c:v>44259</c:v>
                </c:pt>
                <c:pt idx="276">
                  <c:v>44258</c:v>
                </c:pt>
                <c:pt idx="277">
                  <c:v>44257</c:v>
                </c:pt>
                <c:pt idx="278">
                  <c:v>44256</c:v>
                </c:pt>
                <c:pt idx="279">
                  <c:v>44253</c:v>
                </c:pt>
                <c:pt idx="280">
                  <c:v>44252</c:v>
                </c:pt>
                <c:pt idx="281">
                  <c:v>44251</c:v>
                </c:pt>
                <c:pt idx="282">
                  <c:v>44250</c:v>
                </c:pt>
                <c:pt idx="283">
                  <c:v>44249</c:v>
                </c:pt>
                <c:pt idx="284">
                  <c:v>44246</c:v>
                </c:pt>
                <c:pt idx="285">
                  <c:v>44245</c:v>
                </c:pt>
                <c:pt idx="286">
                  <c:v>44244</c:v>
                </c:pt>
                <c:pt idx="287">
                  <c:v>44243</c:v>
                </c:pt>
                <c:pt idx="288">
                  <c:v>44239</c:v>
                </c:pt>
                <c:pt idx="289">
                  <c:v>44238</c:v>
                </c:pt>
                <c:pt idx="290">
                  <c:v>44237</c:v>
                </c:pt>
                <c:pt idx="291">
                  <c:v>44236</c:v>
                </c:pt>
                <c:pt idx="292">
                  <c:v>44235</c:v>
                </c:pt>
                <c:pt idx="293">
                  <c:v>44232</c:v>
                </c:pt>
                <c:pt idx="294">
                  <c:v>44231</c:v>
                </c:pt>
                <c:pt idx="295">
                  <c:v>44230</c:v>
                </c:pt>
                <c:pt idx="296">
                  <c:v>44229</c:v>
                </c:pt>
                <c:pt idx="297">
                  <c:v>44228</c:v>
                </c:pt>
                <c:pt idx="298">
                  <c:v>44225</c:v>
                </c:pt>
                <c:pt idx="299">
                  <c:v>44224</c:v>
                </c:pt>
                <c:pt idx="300">
                  <c:v>44223</c:v>
                </c:pt>
                <c:pt idx="301">
                  <c:v>44222</c:v>
                </c:pt>
                <c:pt idx="302">
                  <c:v>44221</c:v>
                </c:pt>
                <c:pt idx="303">
                  <c:v>44218</c:v>
                </c:pt>
                <c:pt idx="304">
                  <c:v>44217</c:v>
                </c:pt>
                <c:pt idx="305">
                  <c:v>44216</c:v>
                </c:pt>
                <c:pt idx="306">
                  <c:v>44215</c:v>
                </c:pt>
                <c:pt idx="307">
                  <c:v>44211</c:v>
                </c:pt>
                <c:pt idx="308">
                  <c:v>44210</c:v>
                </c:pt>
                <c:pt idx="309">
                  <c:v>44209</c:v>
                </c:pt>
                <c:pt idx="310">
                  <c:v>44208</c:v>
                </c:pt>
                <c:pt idx="311">
                  <c:v>44207</c:v>
                </c:pt>
                <c:pt idx="312">
                  <c:v>44204</c:v>
                </c:pt>
                <c:pt idx="313">
                  <c:v>44203</c:v>
                </c:pt>
                <c:pt idx="314">
                  <c:v>44202</c:v>
                </c:pt>
                <c:pt idx="315">
                  <c:v>44201</c:v>
                </c:pt>
                <c:pt idx="316">
                  <c:v>44200</c:v>
                </c:pt>
                <c:pt idx="317">
                  <c:v>44196</c:v>
                </c:pt>
                <c:pt idx="318">
                  <c:v>44195</c:v>
                </c:pt>
                <c:pt idx="319">
                  <c:v>44194</c:v>
                </c:pt>
                <c:pt idx="320">
                  <c:v>44193</c:v>
                </c:pt>
                <c:pt idx="321">
                  <c:v>44189</c:v>
                </c:pt>
                <c:pt idx="322">
                  <c:v>44188</c:v>
                </c:pt>
                <c:pt idx="323">
                  <c:v>44187</c:v>
                </c:pt>
                <c:pt idx="324">
                  <c:v>44186</c:v>
                </c:pt>
                <c:pt idx="325">
                  <c:v>44183</c:v>
                </c:pt>
                <c:pt idx="326">
                  <c:v>44182</c:v>
                </c:pt>
                <c:pt idx="327">
                  <c:v>44181</c:v>
                </c:pt>
                <c:pt idx="328">
                  <c:v>44180</c:v>
                </c:pt>
                <c:pt idx="329">
                  <c:v>44179</c:v>
                </c:pt>
                <c:pt idx="330">
                  <c:v>44176</c:v>
                </c:pt>
                <c:pt idx="331">
                  <c:v>44175</c:v>
                </c:pt>
                <c:pt idx="332">
                  <c:v>44174</c:v>
                </c:pt>
                <c:pt idx="333">
                  <c:v>44173</c:v>
                </c:pt>
                <c:pt idx="334">
                  <c:v>44172</c:v>
                </c:pt>
                <c:pt idx="335">
                  <c:v>44169</c:v>
                </c:pt>
                <c:pt idx="336">
                  <c:v>44168</c:v>
                </c:pt>
                <c:pt idx="337">
                  <c:v>44167</c:v>
                </c:pt>
                <c:pt idx="338">
                  <c:v>44166</c:v>
                </c:pt>
                <c:pt idx="339">
                  <c:v>44165</c:v>
                </c:pt>
                <c:pt idx="340">
                  <c:v>44162</c:v>
                </c:pt>
                <c:pt idx="341">
                  <c:v>44160</c:v>
                </c:pt>
                <c:pt idx="342">
                  <c:v>44159</c:v>
                </c:pt>
                <c:pt idx="343">
                  <c:v>44158</c:v>
                </c:pt>
                <c:pt idx="344">
                  <c:v>44155</c:v>
                </c:pt>
                <c:pt idx="345">
                  <c:v>44154</c:v>
                </c:pt>
                <c:pt idx="346">
                  <c:v>44153</c:v>
                </c:pt>
                <c:pt idx="347">
                  <c:v>44152</c:v>
                </c:pt>
                <c:pt idx="348">
                  <c:v>44151</c:v>
                </c:pt>
                <c:pt idx="349">
                  <c:v>44148</c:v>
                </c:pt>
                <c:pt idx="350">
                  <c:v>44147</c:v>
                </c:pt>
                <c:pt idx="351">
                  <c:v>44146</c:v>
                </c:pt>
                <c:pt idx="352">
                  <c:v>44145</c:v>
                </c:pt>
                <c:pt idx="353">
                  <c:v>44144</c:v>
                </c:pt>
                <c:pt idx="354">
                  <c:v>44141</c:v>
                </c:pt>
                <c:pt idx="355">
                  <c:v>44140</c:v>
                </c:pt>
                <c:pt idx="356">
                  <c:v>44139</c:v>
                </c:pt>
                <c:pt idx="357">
                  <c:v>44138</c:v>
                </c:pt>
                <c:pt idx="358">
                  <c:v>44137</c:v>
                </c:pt>
                <c:pt idx="359">
                  <c:v>44134</c:v>
                </c:pt>
                <c:pt idx="360">
                  <c:v>44133</c:v>
                </c:pt>
                <c:pt idx="361">
                  <c:v>44132</c:v>
                </c:pt>
                <c:pt idx="362">
                  <c:v>44131</c:v>
                </c:pt>
                <c:pt idx="363">
                  <c:v>44130</c:v>
                </c:pt>
                <c:pt idx="364">
                  <c:v>44127</c:v>
                </c:pt>
                <c:pt idx="365">
                  <c:v>44126</c:v>
                </c:pt>
                <c:pt idx="366">
                  <c:v>44125</c:v>
                </c:pt>
                <c:pt idx="367">
                  <c:v>44124</c:v>
                </c:pt>
                <c:pt idx="368">
                  <c:v>44123</c:v>
                </c:pt>
                <c:pt idx="369">
                  <c:v>44120</c:v>
                </c:pt>
                <c:pt idx="370">
                  <c:v>44119</c:v>
                </c:pt>
                <c:pt idx="371">
                  <c:v>44118</c:v>
                </c:pt>
                <c:pt idx="372">
                  <c:v>44117</c:v>
                </c:pt>
                <c:pt idx="373">
                  <c:v>44116</c:v>
                </c:pt>
                <c:pt idx="374">
                  <c:v>44113</c:v>
                </c:pt>
                <c:pt idx="375">
                  <c:v>44112</c:v>
                </c:pt>
                <c:pt idx="376">
                  <c:v>44111</c:v>
                </c:pt>
                <c:pt idx="377">
                  <c:v>44110</c:v>
                </c:pt>
                <c:pt idx="378">
                  <c:v>44109</c:v>
                </c:pt>
                <c:pt idx="379">
                  <c:v>44106</c:v>
                </c:pt>
                <c:pt idx="380">
                  <c:v>44105</c:v>
                </c:pt>
                <c:pt idx="381">
                  <c:v>44104</c:v>
                </c:pt>
                <c:pt idx="382">
                  <c:v>44103</c:v>
                </c:pt>
                <c:pt idx="383">
                  <c:v>44102</c:v>
                </c:pt>
                <c:pt idx="384">
                  <c:v>44099</c:v>
                </c:pt>
                <c:pt idx="385">
                  <c:v>44098</c:v>
                </c:pt>
                <c:pt idx="386">
                  <c:v>44097</c:v>
                </c:pt>
                <c:pt idx="387">
                  <c:v>44096</c:v>
                </c:pt>
                <c:pt idx="388">
                  <c:v>44095</c:v>
                </c:pt>
                <c:pt idx="389">
                  <c:v>44092</c:v>
                </c:pt>
                <c:pt idx="390">
                  <c:v>44091</c:v>
                </c:pt>
                <c:pt idx="391">
                  <c:v>44090</c:v>
                </c:pt>
                <c:pt idx="392">
                  <c:v>44089</c:v>
                </c:pt>
                <c:pt idx="393">
                  <c:v>44088</c:v>
                </c:pt>
                <c:pt idx="394">
                  <c:v>44085</c:v>
                </c:pt>
                <c:pt idx="395">
                  <c:v>44084</c:v>
                </c:pt>
                <c:pt idx="396">
                  <c:v>44083</c:v>
                </c:pt>
                <c:pt idx="397">
                  <c:v>44082</c:v>
                </c:pt>
                <c:pt idx="398">
                  <c:v>44078</c:v>
                </c:pt>
                <c:pt idx="399">
                  <c:v>44077</c:v>
                </c:pt>
                <c:pt idx="400">
                  <c:v>44076</c:v>
                </c:pt>
                <c:pt idx="401">
                  <c:v>44075</c:v>
                </c:pt>
                <c:pt idx="402">
                  <c:v>44074</c:v>
                </c:pt>
                <c:pt idx="403">
                  <c:v>44071</c:v>
                </c:pt>
                <c:pt idx="404">
                  <c:v>44070</c:v>
                </c:pt>
                <c:pt idx="405">
                  <c:v>44069</c:v>
                </c:pt>
                <c:pt idx="406">
                  <c:v>44068</c:v>
                </c:pt>
                <c:pt idx="407">
                  <c:v>44067</c:v>
                </c:pt>
                <c:pt idx="408">
                  <c:v>44064</c:v>
                </c:pt>
                <c:pt idx="409">
                  <c:v>44063</c:v>
                </c:pt>
                <c:pt idx="410">
                  <c:v>44062</c:v>
                </c:pt>
                <c:pt idx="411">
                  <c:v>44061</c:v>
                </c:pt>
                <c:pt idx="412">
                  <c:v>44060</c:v>
                </c:pt>
                <c:pt idx="413">
                  <c:v>44057</c:v>
                </c:pt>
                <c:pt idx="414">
                  <c:v>44056</c:v>
                </c:pt>
                <c:pt idx="415">
                  <c:v>44055</c:v>
                </c:pt>
                <c:pt idx="416">
                  <c:v>44054</c:v>
                </c:pt>
                <c:pt idx="417">
                  <c:v>44053</c:v>
                </c:pt>
                <c:pt idx="418">
                  <c:v>44050</c:v>
                </c:pt>
                <c:pt idx="419">
                  <c:v>44049</c:v>
                </c:pt>
                <c:pt idx="420">
                  <c:v>44048</c:v>
                </c:pt>
                <c:pt idx="421">
                  <c:v>44047</c:v>
                </c:pt>
                <c:pt idx="422">
                  <c:v>44046</c:v>
                </c:pt>
                <c:pt idx="423">
                  <c:v>44043</c:v>
                </c:pt>
                <c:pt idx="424">
                  <c:v>44042</c:v>
                </c:pt>
                <c:pt idx="425">
                  <c:v>44041</c:v>
                </c:pt>
                <c:pt idx="426">
                  <c:v>44040</c:v>
                </c:pt>
                <c:pt idx="427">
                  <c:v>44039</c:v>
                </c:pt>
                <c:pt idx="428">
                  <c:v>44036</c:v>
                </c:pt>
                <c:pt idx="429">
                  <c:v>44035</c:v>
                </c:pt>
                <c:pt idx="430">
                  <c:v>44034</c:v>
                </c:pt>
                <c:pt idx="431">
                  <c:v>44033</c:v>
                </c:pt>
                <c:pt idx="432">
                  <c:v>44032</c:v>
                </c:pt>
                <c:pt idx="433">
                  <c:v>44029</c:v>
                </c:pt>
                <c:pt idx="434">
                  <c:v>44028</c:v>
                </c:pt>
                <c:pt idx="435">
                  <c:v>44027</c:v>
                </c:pt>
                <c:pt idx="436">
                  <c:v>44026</c:v>
                </c:pt>
                <c:pt idx="437">
                  <c:v>44025</c:v>
                </c:pt>
                <c:pt idx="438">
                  <c:v>44022</c:v>
                </c:pt>
                <c:pt idx="439">
                  <c:v>44021</c:v>
                </c:pt>
                <c:pt idx="440">
                  <c:v>44020</c:v>
                </c:pt>
                <c:pt idx="441">
                  <c:v>44019</c:v>
                </c:pt>
                <c:pt idx="442">
                  <c:v>44018</c:v>
                </c:pt>
                <c:pt idx="443">
                  <c:v>44014</c:v>
                </c:pt>
                <c:pt idx="444">
                  <c:v>44013</c:v>
                </c:pt>
                <c:pt idx="445">
                  <c:v>44012</c:v>
                </c:pt>
                <c:pt idx="446">
                  <c:v>44011</c:v>
                </c:pt>
                <c:pt idx="447">
                  <c:v>44008</c:v>
                </c:pt>
                <c:pt idx="448">
                  <c:v>44007</c:v>
                </c:pt>
                <c:pt idx="449">
                  <c:v>44006</c:v>
                </c:pt>
                <c:pt idx="450">
                  <c:v>44005</c:v>
                </c:pt>
                <c:pt idx="451">
                  <c:v>44004</c:v>
                </c:pt>
                <c:pt idx="452">
                  <c:v>44001</c:v>
                </c:pt>
                <c:pt idx="453">
                  <c:v>44000</c:v>
                </c:pt>
                <c:pt idx="454">
                  <c:v>43999</c:v>
                </c:pt>
                <c:pt idx="455">
                  <c:v>43998</c:v>
                </c:pt>
                <c:pt idx="456">
                  <c:v>43997</c:v>
                </c:pt>
                <c:pt idx="457">
                  <c:v>43994</c:v>
                </c:pt>
                <c:pt idx="458">
                  <c:v>43993</c:v>
                </c:pt>
                <c:pt idx="459">
                  <c:v>43992</c:v>
                </c:pt>
                <c:pt idx="460">
                  <c:v>43991</c:v>
                </c:pt>
                <c:pt idx="461">
                  <c:v>43990</c:v>
                </c:pt>
                <c:pt idx="462">
                  <c:v>43987</c:v>
                </c:pt>
                <c:pt idx="463">
                  <c:v>43986</c:v>
                </c:pt>
                <c:pt idx="464">
                  <c:v>43985</c:v>
                </c:pt>
                <c:pt idx="465">
                  <c:v>43984</c:v>
                </c:pt>
                <c:pt idx="466">
                  <c:v>43983</c:v>
                </c:pt>
                <c:pt idx="467">
                  <c:v>43980</c:v>
                </c:pt>
                <c:pt idx="468">
                  <c:v>43979</c:v>
                </c:pt>
                <c:pt idx="469">
                  <c:v>43978</c:v>
                </c:pt>
                <c:pt idx="470">
                  <c:v>43977</c:v>
                </c:pt>
                <c:pt idx="471">
                  <c:v>43973</c:v>
                </c:pt>
                <c:pt idx="472">
                  <c:v>43972</c:v>
                </c:pt>
                <c:pt idx="473">
                  <c:v>43971</c:v>
                </c:pt>
                <c:pt idx="474">
                  <c:v>43970</c:v>
                </c:pt>
                <c:pt idx="475">
                  <c:v>43969</c:v>
                </c:pt>
                <c:pt idx="476">
                  <c:v>43966</c:v>
                </c:pt>
                <c:pt idx="477">
                  <c:v>43965</c:v>
                </c:pt>
                <c:pt idx="478">
                  <c:v>43964</c:v>
                </c:pt>
                <c:pt idx="479">
                  <c:v>43963</c:v>
                </c:pt>
                <c:pt idx="480">
                  <c:v>43962</c:v>
                </c:pt>
                <c:pt idx="481">
                  <c:v>43959</c:v>
                </c:pt>
                <c:pt idx="482">
                  <c:v>43958</c:v>
                </c:pt>
                <c:pt idx="483">
                  <c:v>43957</c:v>
                </c:pt>
                <c:pt idx="484">
                  <c:v>43956</c:v>
                </c:pt>
                <c:pt idx="485">
                  <c:v>43955</c:v>
                </c:pt>
                <c:pt idx="486">
                  <c:v>43952</c:v>
                </c:pt>
                <c:pt idx="487">
                  <c:v>43951</c:v>
                </c:pt>
                <c:pt idx="488">
                  <c:v>43950</c:v>
                </c:pt>
                <c:pt idx="489">
                  <c:v>43949</c:v>
                </c:pt>
                <c:pt idx="490">
                  <c:v>43948</c:v>
                </c:pt>
                <c:pt idx="491">
                  <c:v>43945</c:v>
                </c:pt>
                <c:pt idx="492">
                  <c:v>43944</c:v>
                </c:pt>
                <c:pt idx="493">
                  <c:v>43943</c:v>
                </c:pt>
                <c:pt idx="494">
                  <c:v>43942</c:v>
                </c:pt>
                <c:pt idx="495">
                  <c:v>43941</c:v>
                </c:pt>
                <c:pt idx="496">
                  <c:v>43938</c:v>
                </c:pt>
                <c:pt idx="497">
                  <c:v>43937</c:v>
                </c:pt>
                <c:pt idx="498">
                  <c:v>43936</c:v>
                </c:pt>
                <c:pt idx="499">
                  <c:v>43935</c:v>
                </c:pt>
                <c:pt idx="500">
                  <c:v>43934</c:v>
                </c:pt>
                <c:pt idx="501">
                  <c:v>43930</c:v>
                </c:pt>
                <c:pt idx="502">
                  <c:v>43929</c:v>
                </c:pt>
                <c:pt idx="503">
                  <c:v>43928</c:v>
                </c:pt>
                <c:pt idx="504">
                  <c:v>43927</c:v>
                </c:pt>
                <c:pt idx="505">
                  <c:v>43924</c:v>
                </c:pt>
                <c:pt idx="506">
                  <c:v>43923</c:v>
                </c:pt>
                <c:pt idx="507">
                  <c:v>43922</c:v>
                </c:pt>
                <c:pt idx="508">
                  <c:v>43921</c:v>
                </c:pt>
                <c:pt idx="509">
                  <c:v>43920</c:v>
                </c:pt>
                <c:pt idx="510">
                  <c:v>43917</c:v>
                </c:pt>
                <c:pt idx="511">
                  <c:v>43916</c:v>
                </c:pt>
                <c:pt idx="512">
                  <c:v>43915</c:v>
                </c:pt>
                <c:pt idx="513">
                  <c:v>43914</c:v>
                </c:pt>
                <c:pt idx="514">
                  <c:v>43913</c:v>
                </c:pt>
                <c:pt idx="515">
                  <c:v>43910</c:v>
                </c:pt>
                <c:pt idx="516">
                  <c:v>43909</c:v>
                </c:pt>
                <c:pt idx="517">
                  <c:v>43908</c:v>
                </c:pt>
                <c:pt idx="518">
                  <c:v>43907</c:v>
                </c:pt>
                <c:pt idx="519">
                  <c:v>43906</c:v>
                </c:pt>
                <c:pt idx="520">
                  <c:v>43903</c:v>
                </c:pt>
                <c:pt idx="521">
                  <c:v>43902</c:v>
                </c:pt>
                <c:pt idx="522">
                  <c:v>43901</c:v>
                </c:pt>
                <c:pt idx="523">
                  <c:v>43900</c:v>
                </c:pt>
                <c:pt idx="524">
                  <c:v>43899</c:v>
                </c:pt>
                <c:pt idx="525">
                  <c:v>43896</c:v>
                </c:pt>
                <c:pt idx="526">
                  <c:v>43895</c:v>
                </c:pt>
                <c:pt idx="527">
                  <c:v>43894</c:v>
                </c:pt>
                <c:pt idx="528">
                  <c:v>43893</c:v>
                </c:pt>
                <c:pt idx="529">
                  <c:v>43892</c:v>
                </c:pt>
                <c:pt idx="530">
                  <c:v>43889</c:v>
                </c:pt>
                <c:pt idx="531">
                  <c:v>43888</c:v>
                </c:pt>
                <c:pt idx="532">
                  <c:v>43887</c:v>
                </c:pt>
                <c:pt idx="533">
                  <c:v>43886</c:v>
                </c:pt>
                <c:pt idx="534">
                  <c:v>43885</c:v>
                </c:pt>
                <c:pt idx="535">
                  <c:v>43882</c:v>
                </c:pt>
                <c:pt idx="536">
                  <c:v>43881</c:v>
                </c:pt>
                <c:pt idx="537">
                  <c:v>43880</c:v>
                </c:pt>
                <c:pt idx="538">
                  <c:v>43879</c:v>
                </c:pt>
                <c:pt idx="539">
                  <c:v>43875</c:v>
                </c:pt>
                <c:pt idx="540">
                  <c:v>43874</c:v>
                </c:pt>
                <c:pt idx="541">
                  <c:v>43873</c:v>
                </c:pt>
                <c:pt idx="542">
                  <c:v>43872</c:v>
                </c:pt>
                <c:pt idx="543">
                  <c:v>43871</c:v>
                </c:pt>
                <c:pt idx="544">
                  <c:v>43868</c:v>
                </c:pt>
                <c:pt idx="545">
                  <c:v>43867</c:v>
                </c:pt>
                <c:pt idx="546">
                  <c:v>43866</c:v>
                </c:pt>
                <c:pt idx="547">
                  <c:v>43865</c:v>
                </c:pt>
                <c:pt idx="548">
                  <c:v>43864</c:v>
                </c:pt>
                <c:pt idx="549">
                  <c:v>43861</c:v>
                </c:pt>
                <c:pt idx="550">
                  <c:v>43860</c:v>
                </c:pt>
                <c:pt idx="551">
                  <c:v>43859</c:v>
                </c:pt>
                <c:pt idx="552">
                  <c:v>43858</c:v>
                </c:pt>
                <c:pt idx="553">
                  <c:v>43857</c:v>
                </c:pt>
                <c:pt idx="554">
                  <c:v>43854</c:v>
                </c:pt>
                <c:pt idx="555">
                  <c:v>43853</c:v>
                </c:pt>
                <c:pt idx="556">
                  <c:v>43852</c:v>
                </c:pt>
                <c:pt idx="557">
                  <c:v>43851</c:v>
                </c:pt>
                <c:pt idx="558">
                  <c:v>43847</c:v>
                </c:pt>
                <c:pt idx="559">
                  <c:v>43846</c:v>
                </c:pt>
                <c:pt idx="560">
                  <c:v>43845</c:v>
                </c:pt>
                <c:pt idx="561">
                  <c:v>43844</c:v>
                </c:pt>
                <c:pt idx="562">
                  <c:v>43843</c:v>
                </c:pt>
                <c:pt idx="563">
                  <c:v>43840</c:v>
                </c:pt>
                <c:pt idx="564">
                  <c:v>43839</c:v>
                </c:pt>
                <c:pt idx="565">
                  <c:v>43838</c:v>
                </c:pt>
                <c:pt idx="566">
                  <c:v>43837</c:v>
                </c:pt>
                <c:pt idx="567">
                  <c:v>43836</c:v>
                </c:pt>
                <c:pt idx="568">
                  <c:v>43833</c:v>
                </c:pt>
                <c:pt idx="569">
                  <c:v>43832</c:v>
                </c:pt>
                <c:pt idx="570">
                  <c:v>43830</c:v>
                </c:pt>
                <c:pt idx="571">
                  <c:v>43829</c:v>
                </c:pt>
                <c:pt idx="572">
                  <c:v>43826</c:v>
                </c:pt>
                <c:pt idx="573">
                  <c:v>43825</c:v>
                </c:pt>
                <c:pt idx="574">
                  <c:v>43823</c:v>
                </c:pt>
                <c:pt idx="575">
                  <c:v>43822</c:v>
                </c:pt>
                <c:pt idx="576">
                  <c:v>43819</c:v>
                </c:pt>
                <c:pt idx="577">
                  <c:v>43818</c:v>
                </c:pt>
                <c:pt idx="578">
                  <c:v>43817</c:v>
                </c:pt>
                <c:pt idx="579">
                  <c:v>43816</c:v>
                </c:pt>
                <c:pt idx="580">
                  <c:v>43815</c:v>
                </c:pt>
                <c:pt idx="581">
                  <c:v>43812</c:v>
                </c:pt>
                <c:pt idx="582">
                  <c:v>43811</c:v>
                </c:pt>
                <c:pt idx="583">
                  <c:v>43810</c:v>
                </c:pt>
                <c:pt idx="584">
                  <c:v>43809</c:v>
                </c:pt>
                <c:pt idx="585">
                  <c:v>43808</c:v>
                </c:pt>
                <c:pt idx="586">
                  <c:v>43805</c:v>
                </c:pt>
                <c:pt idx="587">
                  <c:v>43804</c:v>
                </c:pt>
                <c:pt idx="588">
                  <c:v>43803</c:v>
                </c:pt>
                <c:pt idx="589">
                  <c:v>43802</c:v>
                </c:pt>
                <c:pt idx="590">
                  <c:v>43801</c:v>
                </c:pt>
                <c:pt idx="591">
                  <c:v>43798</c:v>
                </c:pt>
                <c:pt idx="592">
                  <c:v>43796</c:v>
                </c:pt>
                <c:pt idx="593">
                  <c:v>43795</c:v>
                </c:pt>
                <c:pt idx="594">
                  <c:v>43794</c:v>
                </c:pt>
                <c:pt idx="595">
                  <c:v>43791</c:v>
                </c:pt>
                <c:pt idx="596">
                  <c:v>43790</c:v>
                </c:pt>
                <c:pt idx="597">
                  <c:v>43789</c:v>
                </c:pt>
                <c:pt idx="598">
                  <c:v>43788</c:v>
                </c:pt>
                <c:pt idx="599">
                  <c:v>43787</c:v>
                </c:pt>
                <c:pt idx="600">
                  <c:v>43784</c:v>
                </c:pt>
                <c:pt idx="601">
                  <c:v>43783</c:v>
                </c:pt>
                <c:pt idx="602">
                  <c:v>43782</c:v>
                </c:pt>
                <c:pt idx="603">
                  <c:v>43781</c:v>
                </c:pt>
                <c:pt idx="604">
                  <c:v>43780</c:v>
                </c:pt>
                <c:pt idx="605">
                  <c:v>43777</c:v>
                </c:pt>
                <c:pt idx="606">
                  <c:v>43776</c:v>
                </c:pt>
                <c:pt idx="607">
                  <c:v>43775</c:v>
                </c:pt>
                <c:pt idx="608">
                  <c:v>43774</c:v>
                </c:pt>
                <c:pt idx="609">
                  <c:v>43773</c:v>
                </c:pt>
                <c:pt idx="610">
                  <c:v>43770</c:v>
                </c:pt>
                <c:pt idx="611">
                  <c:v>43769</c:v>
                </c:pt>
                <c:pt idx="612">
                  <c:v>43768</c:v>
                </c:pt>
                <c:pt idx="613">
                  <c:v>43767</c:v>
                </c:pt>
                <c:pt idx="614">
                  <c:v>43766</c:v>
                </c:pt>
                <c:pt idx="615">
                  <c:v>43763</c:v>
                </c:pt>
                <c:pt idx="616">
                  <c:v>43762</c:v>
                </c:pt>
                <c:pt idx="617">
                  <c:v>43761</c:v>
                </c:pt>
                <c:pt idx="618">
                  <c:v>43760</c:v>
                </c:pt>
                <c:pt idx="619">
                  <c:v>43759</c:v>
                </c:pt>
                <c:pt idx="620">
                  <c:v>43756</c:v>
                </c:pt>
                <c:pt idx="621">
                  <c:v>43755</c:v>
                </c:pt>
                <c:pt idx="622">
                  <c:v>43754</c:v>
                </c:pt>
                <c:pt idx="623">
                  <c:v>43753</c:v>
                </c:pt>
                <c:pt idx="624">
                  <c:v>43752</c:v>
                </c:pt>
                <c:pt idx="625">
                  <c:v>43749</c:v>
                </c:pt>
                <c:pt idx="626">
                  <c:v>43748</c:v>
                </c:pt>
                <c:pt idx="627">
                  <c:v>43747</c:v>
                </c:pt>
                <c:pt idx="628">
                  <c:v>43746</c:v>
                </c:pt>
                <c:pt idx="629">
                  <c:v>43745</c:v>
                </c:pt>
                <c:pt idx="630">
                  <c:v>43742</c:v>
                </c:pt>
                <c:pt idx="631">
                  <c:v>43741</c:v>
                </c:pt>
                <c:pt idx="632">
                  <c:v>43740</c:v>
                </c:pt>
                <c:pt idx="633">
                  <c:v>43739</c:v>
                </c:pt>
                <c:pt idx="634">
                  <c:v>43738</c:v>
                </c:pt>
                <c:pt idx="635">
                  <c:v>43735</c:v>
                </c:pt>
                <c:pt idx="636">
                  <c:v>43734</c:v>
                </c:pt>
                <c:pt idx="637">
                  <c:v>43733</c:v>
                </c:pt>
                <c:pt idx="638">
                  <c:v>43732</c:v>
                </c:pt>
                <c:pt idx="639">
                  <c:v>43731</c:v>
                </c:pt>
                <c:pt idx="640">
                  <c:v>43728</c:v>
                </c:pt>
                <c:pt idx="641">
                  <c:v>43727</c:v>
                </c:pt>
                <c:pt idx="642">
                  <c:v>43726</c:v>
                </c:pt>
                <c:pt idx="643">
                  <c:v>43725</c:v>
                </c:pt>
                <c:pt idx="644">
                  <c:v>43724</c:v>
                </c:pt>
                <c:pt idx="645">
                  <c:v>43721</c:v>
                </c:pt>
                <c:pt idx="646">
                  <c:v>43720</c:v>
                </c:pt>
                <c:pt idx="647">
                  <c:v>43719</c:v>
                </c:pt>
                <c:pt idx="648">
                  <c:v>43718</c:v>
                </c:pt>
                <c:pt idx="649">
                  <c:v>43717</c:v>
                </c:pt>
                <c:pt idx="650">
                  <c:v>43714</c:v>
                </c:pt>
                <c:pt idx="651">
                  <c:v>43713</c:v>
                </c:pt>
                <c:pt idx="652">
                  <c:v>43712</c:v>
                </c:pt>
                <c:pt idx="653">
                  <c:v>43711</c:v>
                </c:pt>
                <c:pt idx="654">
                  <c:v>43707</c:v>
                </c:pt>
                <c:pt idx="655">
                  <c:v>43706</c:v>
                </c:pt>
                <c:pt idx="656">
                  <c:v>43705</c:v>
                </c:pt>
                <c:pt idx="657">
                  <c:v>43704</c:v>
                </c:pt>
                <c:pt idx="658">
                  <c:v>43703</c:v>
                </c:pt>
                <c:pt idx="659">
                  <c:v>43700</c:v>
                </c:pt>
                <c:pt idx="660">
                  <c:v>43699</c:v>
                </c:pt>
                <c:pt idx="661">
                  <c:v>43698</c:v>
                </c:pt>
                <c:pt idx="662">
                  <c:v>43697</c:v>
                </c:pt>
                <c:pt idx="663">
                  <c:v>43696</c:v>
                </c:pt>
                <c:pt idx="664">
                  <c:v>43693</c:v>
                </c:pt>
                <c:pt idx="665">
                  <c:v>43692</c:v>
                </c:pt>
                <c:pt idx="666">
                  <c:v>43691</c:v>
                </c:pt>
                <c:pt idx="667">
                  <c:v>43690</c:v>
                </c:pt>
                <c:pt idx="668">
                  <c:v>43689</c:v>
                </c:pt>
                <c:pt idx="669">
                  <c:v>43686</c:v>
                </c:pt>
                <c:pt idx="670">
                  <c:v>43685</c:v>
                </c:pt>
                <c:pt idx="671">
                  <c:v>43684</c:v>
                </c:pt>
                <c:pt idx="672">
                  <c:v>43683</c:v>
                </c:pt>
                <c:pt idx="673">
                  <c:v>43682</c:v>
                </c:pt>
                <c:pt idx="674">
                  <c:v>43679</c:v>
                </c:pt>
                <c:pt idx="675">
                  <c:v>43678</c:v>
                </c:pt>
                <c:pt idx="676">
                  <c:v>43677</c:v>
                </c:pt>
                <c:pt idx="677">
                  <c:v>43676</c:v>
                </c:pt>
                <c:pt idx="678">
                  <c:v>43675</c:v>
                </c:pt>
                <c:pt idx="679">
                  <c:v>43672</c:v>
                </c:pt>
                <c:pt idx="680">
                  <c:v>43671</c:v>
                </c:pt>
                <c:pt idx="681">
                  <c:v>43670</c:v>
                </c:pt>
                <c:pt idx="682">
                  <c:v>43669</c:v>
                </c:pt>
                <c:pt idx="683">
                  <c:v>43668</c:v>
                </c:pt>
                <c:pt idx="684">
                  <c:v>43665</c:v>
                </c:pt>
                <c:pt idx="685">
                  <c:v>43664</c:v>
                </c:pt>
                <c:pt idx="686">
                  <c:v>43663</c:v>
                </c:pt>
                <c:pt idx="687">
                  <c:v>43662</c:v>
                </c:pt>
                <c:pt idx="688">
                  <c:v>43661</c:v>
                </c:pt>
                <c:pt idx="689">
                  <c:v>43658</c:v>
                </c:pt>
                <c:pt idx="690">
                  <c:v>43657</c:v>
                </c:pt>
                <c:pt idx="691">
                  <c:v>43656</c:v>
                </c:pt>
                <c:pt idx="692">
                  <c:v>43655</c:v>
                </c:pt>
                <c:pt idx="693">
                  <c:v>43654</c:v>
                </c:pt>
                <c:pt idx="694">
                  <c:v>43651</c:v>
                </c:pt>
                <c:pt idx="695">
                  <c:v>43649</c:v>
                </c:pt>
                <c:pt idx="696">
                  <c:v>43648</c:v>
                </c:pt>
                <c:pt idx="697">
                  <c:v>43647</c:v>
                </c:pt>
                <c:pt idx="698">
                  <c:v>43644</c:v>
                </c:pt>
                <c:pt idx="699">
                  <c:v>43643</c:v>
                </c:pt>
                <c:pt idx="700">
                  <c:v>43642</c:v>
                </c:pt>
                <c:pt idx="701">
                  <c:v>43641</c:v>
                </c:pt>
                <c:pt idx="702">
                  <c:v>43640</c:v>
                </c:pt>
                <c:pt idx="703">
                  <c:v>43637</c:v>
                </c:pt>
                <c:pt idx="704">
                  <c:v>43636</c:v>
                </c:pt>
                <c:pt idx="705">
                  <c:v>43635</c:v>
                </c:pt>
                <c:pt idx="706">
                  <c:v>43634</c:v>
                </c:pt>
                <c:pt idx="707">
                  <c:v>43633</c:v>
                </c:pt>
                <c:pt idx="708">
                  <c:v>43630</c:v>
                </c:pt>
                <c:pt idx="709">
                  <c:v>43629</c:v>
                </c:pt>
                <c:pt idx="710">
                  <c:v>43628</c:v>
                </c:pt>
                <c:pt idx="711">
                  <c:v>43627</c:v>
                </c:pt>
                <c:pt idx="712">
                  <c:v>43626</c:v>
                </c:pt>
                <c:pt idx="713">
                  <c:v>43623</c:v>
                </c:pt>
                <c:pt idx="714">
                  <c:v>43622</c:v>
                </c:pt>
                <c:pt idx="715">
                  <c:v>43621</c:v>
                </c:pt>
                <c:pt idx="716">
                  <c:v>43620</c:v>
                </c:pt>
                <c:pt idx="717">
                  <c:v>43619</c:v>
                </c:pt>
                <c:pt idx="718">
                  <c:v>43616</c:v>
                </c:pt>
                <c:pt idx="719">
                  <c:v>43615</c:v>
                </c:pt>
                <c:pt idx="720">
                  <c:v>43614</c:v>
                </c:pt>
                <c:pt idx="721">
                  <c:v>43613</c:v>
                </c:pt>
                <c:pt idx="722">
                  <c:v>43609</c:v>
                </c:pt>
                <c:pt idx="723">
                  <c:v>43608</c:v>
                </c:pt>
                <c:pt idx="724">
                  <c:v>43607</c:v>
                </c:pt>
                <c:pt idx="725">
                  <c:v>43606</c:v>
                </c:pt>
                <c:pt idx="726">
                  <c:v>43605</c:v>
                </c:pt>
                <c:pt idx="727">
                  <c:v>43602</c:v>
                </c:pt>
                <c:pt idx="728">
                  <c:v>43601</c:v>
                </c:pt>
                <c:pt idx="729">
                  <c:v>43600</c:v>
                </c:pt>
                <c:pt idx="730">
                  <c:v>43599</c:v>
                </c:pt>
                <c:pt idx="731">
                  <c:v>43598</c:v>
                </c:pt>
                <c:pt idx="732">
                  <c:v>43595</c:v>
                </c:pt>
                <c:pt idx="733">
                  <c:v>43594</c:v>
                </c:pt>
                <c:pt idx="734">
                  <c:v>43593</c:v>
                </c:pt>
                <c:pt idx="735">
                  <c:v>43592</c:v>
                </c:pt>
                <c:pt idx="736">
                  <c:v>43591</c:v>
                </c:pt>
                <c:pt idx="737">
                  <c:v>43588</c:v>
                </c:pt>
                <c:pt idx="738">
                  <c:v>43587</c:v>
                </c:pt>
                <c:pt idx="739">
                  <c:v>43586</c:v>
                </c:pt>
                <c:pt idx="740">
                  <c:v>43585</c:v>
                </c:pt>
                <c:pt idx="741">
                  <c:v>43584</c:v>
                </c:pt>
                <c:pt idx="742">
                  <c:v>43581</c:v>
                </c:pt>
                <c:pt idx="743">
                  <c:v>43580</c:v>
                </c:pt>
                <c:pt idx="744">
                  <c:v>43579</c:v>
                </c:pt>
                <c:pt idx="745">
                  <c:v>43578</c:v>
                </c:pt>
                <c:pt idx="746">
                  <c:v>43577</c:v>
                </c:pt>
                <c:pt idx="747">
                  <c:v>43573</c:v>
                </c:pt>
                <c:pt idx="748">
                  <c:v>43572</c:v>
                </c:pt>
                <c:pt idx="749">
                  <c:v>43571</c:v>
                </c:pt>
                <c:pt idx="750">
                  <c:v>43570</c:v>
                </c:pt>
                <c:pt idx="751">
                  <c:v>43567</c:v>
                </c:pt>
                <c:pt idx="752">
                  <c:v>43566</c:v>
                </c:pt>
                <c:pt idx="753">
                  <c:v>43565</c:v>
                </c:pt>
                <c:pt idx="754">
                  <c:v>43564</c:v>
                </c:pt>
                <c:pt idx="755">
                  <c:v>43563</c:v>
                </c:pt>
                <c:pt idx="756">
                  <c:v>43560</c:v>
                </c:pt>
                <c:pt idx="757">
                  <c:v>43559</c:v>
                </c:pt>
                <c:pt idx="758">
                  <c:v>43558</c:v>
                </c:pt>
                <c:pt idx="759">
                  <c:v>43557</c:v>
                </c:pt>
                <c:pt idx="760">
                  <c:v>43556</c:v>
                </c:pt>
                <c:pt idx="761">
                  <c:v>43553</c:v>
                </c:pt>
                <c:pt idx="762">
                  <c:v>43552</c:v>
                </c:pt>
                <c:pt idx="763">
                  <c:v>43551</c:v>
                </c:pt>
                <c:pt idx="764">
                  <c:v>43550</c:v>
                </c:pt>
                <c:pt idx="765">
                  <c:v>43549</c:v>
                </c:pt>
                <c:pt idx="766">
                  <c:v>43546</c:v>
                </c:pt>
                <c:pt idx="767">
                  <c:v>43545</c:v>
                </c:pt>
                <c:pt idx="768">
                  <c:v>43544</c:v>
                </c:pt>
                <c:pt idx="769">
                  <c:v>43543</c:v>
                </c:pt>
                <c:pt idx="770">
                  <c:v>43542</c:v>
                </c:pt>
                <c:pt idx="771">
                  <c:v>43539</c:v>
                </c:pt>
                <c:pt idx="772">
                  <c:v>43538</c:v>
                </c:pt>
                <c:pt idx="773">
                  <c:v>43537</c:v>
                </c:pt>
                <c:pt idx="774">
                  <c:v>43536</c:v>
                </c:pt>
                <c:pt idx="775">
                  <c:v>43535</c:v>
                </c:pt>
                <c:pt idx="776">
                  <c:v>43532</c:v>
                </c:pt>
                <c:pt idx="777">
                  <c:v>43531</c:v>
                </c:pt>
                <c:pt idx="778">
                  <c:v>43530</c:v>
                </c:pt>
                <c:pt idx="779">
                  <c:v>43529</c:v>
                </c:pt>
                <c:pt idx="780">
                  <c:v>43528</c:v>
                </c:pt>
                <c:pt idx="781">
                  <c:v>43525</c:v>
                </c:pt>
                <c:pt idx="782">
                  <c:v>43524</c:v>
                </c:pt>
                <c:pt idx="783">
                  <c:v>43523</c:v>
                </c:pt>
                <c:pt idx="784">
                  <c:v>43522</c:v>
                </c:pt>
                <c:pt idx="785">
                  <c:v>43521</c:v>
                </c:pt>
                <c:pt idx="786">
                  <c:v>43518</c:v>
                </c:pt>
                <c:pt idx="787">
                  <c:v>43517</c:v>
                </c:pt>
                <c:pt idx="788">
                  <c:v>43516</c:v>
                </c:pt>
                <c:pt idx="789">
                  <c:v>43515</c:v>
                </c:pt>
                <c:pt idx="790">
                  <c:v>43511</c:v>
                </c:pt>
                <c:pt idx="791">
                  <c:v>43510</c:v>
                </c:pt>
                <c:pt idx="792">
                  <c:v>43509</c:v>
                </c:pt>
                <c:pt idx="793">
                  <c:v>43508</c:v>
                </c:pt>
                <c:pt idx="794">
                  <c:v>43507</c:v>
                </c:pt>
                <c:pt idx="795">
                  <c:v>43504</c:v>
                </c:pt>
                <c:pt idx="796">
                  <c:v>43503</c:v>
                </c:pt>
                <c:pt idx="797">
                  <c:v>43502</c:v>
                </c:pt>
                <c:pt idx="798">
                  <c:v>43501</c:v>
                </c:pt>
                <c:pt idx="799">
                  <c:v>43500</c:v>
                </c:pt>
                <c:pt idx="800">
                  <c:v>43497</c:v>
                </c:pt>
                <c:pt idx="801">
                  <c:v>43496</c:v>
                </c:pt>
                <c:pt idx="802">
                  <c:v>43495</c:v>
                </c:pt>
                <c:pt idx="803">
                  <c:v>43494</c:v>
                </c:pt>
                <c:pt idx="804">
                  <c:v>43493</c:v>
                </c:pt>
                <c:pt idx="805">
                  <c:v>43490</c:v>
                </c:pt>
                <c:pt idx="806">
                  <c:v>43489</c:v>
                </c:pt>
                <c:pt idx="807">
                  <c:v>43488</c:v>
                </c:pt>
                <c:pt idx="808">
                  <c:v>43487</c:v>
                </c:pt>
                <c:pt idx="809">
                  <c:v>43483</c:v>
                </c:pt>
                <c:pt idx="810">
                  <c:v>43482</c:v>
                </c:pt>
                <c:pt idx="811">
                  <c:v>43481</c:v>
                </c:pt>
                <c:pt idx="812">
                  <c:v>43480</c:v>
                </c:pt>
                <c:pt idx="813">
                  <c:v>43479</c:v>
                </c:pt>
                <c:pt idx="814">
                  <c:v>43476</c:v>
                </c:pt>
                <c:pt idx="815">
                  <c:v>43475</c:v>
                </c:pt>
                <c:pt idx="816">
                  <c:v>43474</c:v>
                </c:pt>
                <c:pt idx="817">
                  <c:v>43473</c:v>
                </c:pt>
                <c:pt idx="818">
                  <c:v>43472</c:v>
                </c:pt>
                <c:pt idx="819">
                  <c:v>43469</c:v>
                </c:pt>
                <c:pt idx="820">
                  <c:v>43468</c:v>
                </c:pt>
                <c:pt idx="821">
                  <c:v>43467</c:v>
                </c:pt>
                <c:pt idx="822">
                  <c:v>43465</c:v>
                </c:pt>
                <c:pt idx="823">
                  <c:v>43462</c:v>
                </c:pt>
                <c:pt idx="824">
                  <c:v>43461</c:v>
                </c:pt>
                <c:pt idx="825">
                  <c:v>43460</c:v>
                </c:pt>
                <c:pt idx="826">
                  <c:v>43458</c:v>
                </c:pt>
                <c:pt idx="827">
                  <c:v>43455</c:v>
                </c:pt>
                <c:pt idx="828">
                  <c:v>43454</c:v>
                </c:pt>
                <c:pt idx="829">
                  <c:v>43453</c:v>
                </c:pt>
                <c:pt idx="830">
                  <c:v>43452</c:v>
                </c:pt>
                <c:pt idx="831">
                  <c:v>43451</c:v>
                </c:pt>
                <c:pt idx="832">
                  <c:v>43448</c:v>
                </c:pt>
                <c:pt idx="833">
                  <c:v>43447</c:v>
                </c:pt>
                <c:pt idx="834">
                  <c:v>43446</c:v>
                </c:pt>
                <c:pt idx="835">
                  <c:v>43445</c:v>
                </c:pt>
                <c:pt idx="836">
                  <c:v>43444</c:v>
                </c:pt>
                <c:pt idx="837">
                  <c:v>43441</c:v>
                </c:pt>
                <c:pt idx="838">
                  <c:v>43440</c:v>
                </c:pt>
                <c:pt idx="839">
                  <c:v>43438</c:v>
                </c:pt>
                <c:pt idx="840">
                  <c:v>43437</c:v>
                </c:pt>
                <c:pt idx="841">
                  <c:v>43434</c:v>
                </c:pt>
                <c:pt idx="842">
                  <c:v>43433</c:v>
                </c:pt>
                <c:pt idx="843">
                  <c:v>43432</c:v>
                </c:pt>
                <c:pt idx="844">
                  <c:v>43431</c:v>
                </c:pt>
                <c:pt idx="845">
                  <c:v>43430</c:v>
                </c:pt>
                <c:pt idx="846">
                  <c:v>43427</c:v>
                </c:pt>
                <c:pt idx="847">
                  <c:v>43425</c:v>
                </c:pt>
                <c:pt idx="848">
                  <c:v>43424</c:v>
                </c:pt>
                <c:pt idx="849">
                  <c:v>43423</c:v>
                </c:pt>
                <c:pt idx="850">
                  <c:v>43420</c:v>
                </c:pt>
                <c:pt idx="851">
                  <c:v>43419</c:v>
                </c:pt>
                <c:pt idx="852">
                  <c:v>43418</c:v>
                </c:pt>
                <c:pt idx="853">
                  <c:v>43417</c:v>
                </c:pt>
                <c:pt idx="854">
                  <c:v>43416</c:v>
                </c:pt>
                <c:pt idx="855">
                  <c:v>43413</c:v>
                </c:pt>
                <c:pt idx="856">
                  <c:v>43412</c:v>
                </c:pt>
                <c:pt idx="857">
                  <c:v>43411</c:v>
                </c:pt>
                <c:pt idx="858">
                  <c:v>43410</c:v>
                </c:pt>
                <c:pt idx="859">
                  <c:v>43409</c:v>
                </c:pt>
                <c:pt idx="860">
                  <c:v>43406</c:v>
                </c:pt>
                <c:pt idx="861">
                  <c:v>43405</c:v>
                </c:pt>
                <c:pt idx="862">
                  <c:v>43404</c:v>
                </c:pt>
                <c:pt idx="863">
                  <c:v>43403</c:v>
                </c:pt>
                <c:pt idx="864">
                  <c:v>43402</c:v>
                </c:pt>
                <c:pt idx="865">
                  <c:v>43399</c:v>
                </c:pt>
                <c:pt idx="866">
                  <c:v>43398</c:v>
                </c:pt>
                <c:pt idx="867">
                  <c:v>43397</c:v>
                </c:pt>
                <c:pt idx="868">
                  <c:v>43396</c:v>
                </c:pt>
                <c:pt idx="869">
                  <c:v>43395</c:v>
                </c:pt>
                <c:pt idx="870">
                  <c:v>43392</c:v>
                </c:pt>
                <c:pt idx="871">
                  <c:v>43391</c:v>
                </c:pt>
                <c:pt idx="872">
                  <c:v>43390</c:v>
                </c:pt>
                <c:pt idx="873">
                  <c:v>43389</c:v>
                </c:pt>
                <c:pt idx="874">
                  <c:v>43388</c:v>
                </c:pt>
                <c:pt idx="875">
                  <c:v>43385</c:v>
                </c:pt>
                <c:pt idx="876">
                  <c:v>43384</c:v>
                </c:pt>
                <c:pt idx="877">
                  <c:v>43383</c:v>
                </c:pt>
                <c:pt idx="878">
                  <c:v>43382</c:v>
                </c:pt>
                <c:pt idx="879">
                  <c:v>43381</c:v>
                </c:pt>
                <c:pt idx="880">
                  <c:v>43378</c:v>
                </c:pt>
                <c:pt idx="881">
                  <c:v>43377</c:v>
                </c:pt>
                <c:pt idx="882">
                  <c:v>43376</c:v>
                </c:pt>
                <c:pt idx="883">
                  <c:v>43375</c:v>
                </c:pt>
                <c:pt idx="884">
                  <c:v>43374</c:v>
                </c:pt>
                <c:pt idx="885">
                  <c:v>43371</c:v>
                </c:pt>
                <c:pt idx="886">
                  <c:v>43370</c:v>
                </c:pt>
                <c:pt idx="887">
                  <c:v>43369</c:v>
                </c:pt>
                <c:pt idx="888">
                  <c:v>43368</c:v>
                </c:pt>
                <c:pt idx="889">
                  <c:v>43367</c:v>
                </c:pt>
                <c:pt idx="890">
                  <c:v>43364</c:v>
                </c:pt>
                <c:pt idx="891">
                  <c:v>43363</c:v>
                </c:pt>
                <c:pt idx="892">
                  <c:v>43362</c:v>
                </c:pt>
                <c:pt idx="893">
                  <c:v>43361</c:v>
                </c:pt>
                <c:pt idx="894">
                  <c:v>43360</c:v>
                </c:pt>
                <c:pt idx="895">
                  <c:v>43357</c:v>
                </c:pt>
                <c:pt idx="896">
                  <c:v>43356</c:v>
                </c:pt>
                <c:pt idx="897">
                  <c:v>43355</c:v>
                </c:pt>
                <c:pt idx="898">
                  <c:v>43354</c:v>
                </c:pt>
                <c:pt idx="899">
                  <c:v>43353</c:v>
                </c:pt>
                <c:pt idx="900">
                  <c:v>43350</c:v>
                </c:pt>
                <c:pt idx="901">
                  <c:v>43349</c:v>
                </c:pt>
                <c:pt idx="902">
                  <c:v>43348</c:v>
                </c:pt>
                <c:pt idx="903">
                  <c:v>43347</c:v>
                </c:pt>
                <c:pt idx="904">
                  <c:v>43343</c:v>
                </c:pt>
                <c:pt idx="905">
                  <c:v>43342</c:v>
                </c:pt>
                <c:pt idx="906">
                  <c:v>43341</c:v>
                </c:pt>
                <c:pt idx="907">
                  <c:v>43340</c:v>
                </c:pt>
                <c:pt idx="908">
                  <c:v>43339</c:v>
                </c:pt>
                <c:pt idx="909">
                  <c:v>43336</c:v>
                </c:pt>
                <c:pt idx="910">
                  <c:v>43335</c:v>
                </c:pt>
                <c:pt idx="911">
                  <c:v>43334</c:v>
                </c:pt>
                <c:pt idx="912">
                  <c:v>43333</c:v>
                </c:pt>
                <c:pt idx="913">
                  <c:v>43332</c:v>
                </c:pt>
                <c:pt idx="914">
                  <c:v>43329</c:v>
                </c:pt>
                <c:pt idx="915">
                  <c:v>43328</c:v>
                </c:pt>
                <c:pt idx="916">
                  <c:v>43327</c:v>
                </c:pt>
                <c:pt idx="917">
                  <c:v>43326</c:v>
                </c:pt>
                <c:pt idx="918">
                  <c:v>43325</c:v>
                </c:pt>
                <c:pt idx="919">
                  <c:v>43322</c:v>
                </c:pt>
                <c:pt idx="920">
                  <c:v>43321</c:v>
                </c:pt>
                <c:pt idx="921">
                  <c:v>43320</c:v>
                </c:pt>
                <c:pt idx="922">
                  <c:v>43319</c:v>
                </c:pt>
                <c:pt idx="923">
                  <c:v>43318</c:v>
                </c:pt>
                <c:pt idx="924">
                  <c:v>43315</c:v>
                </c:pt>
                <c:pt idx="925">
                  <c:v>43314</c:v>
                </c:pt>
                <c:pt idx="926">
                  <c:v>43313</c:v>
                </c:pt>
                <c:pt idx="927">
                  <c:v>43312</c:v>
                </c:pt>
                <c:pt idx="928">
                  <c:v>43311</c:v>
                </c:pt>
                <c:pt idx="929">
                  <c:v>43308</c:v>
                </c:pt>
                <c:pt idx="930">
                  <c:v>43307</c:v>
                </c:pt>
                <c:pt idx="931">
                  <c:v>43306</c:v>
                </c:pt>
                <c:pt idx="932">
                  <c:v>43305</c:v>
                </c:pt>
                <c:pt idx="933">
                  <c:v>43304</c:v>
                </c:pt>
                <c:pt idx="934">
                  <c:v>43301</c:v>
                </c:pt>
                <c:pt idx="935">
                  <c:v>43300</c:v>
                </c:pt>
                <c:pt idx="936">
                  <c:v>43299</c:v>
                </c:pt>
                <c:pt idx="937">
                  <c:v>43298</c:v>
                </c:pt>
                <c:pt idx="938">
                  <c:v>43297</c:v>
                </c:pt>
                <c:pt idx="939">
                  <c:v>43294</c:v>
                </c:pt>
                <c:pt idx="940">
                  <c:v>43293</c:v>
                </c:pt>
                <c:pt idx="941">
                  <c:v>43292</c:v>
                </c:pt>
                <c:pt idx="942">
                  <c:v>43291</c:v>
                </c:pt>
                <c:pt idx="943">
                  <c:v>43290</c:v>
                </c:pt>
                <c:pt idx="944">
                  <c:v>43287</c:v>
                </c:pt>
                <c:pt idx="945">
                  <c:v>43286</c:v>
                </c:pt>
                <c:pt idx="946">
                  <c:v>43284</c:v>
                </c:pt>
                <c:pt idx="947">
                  <c:v>43283</c:v>
                </c:pt>
                <c:pt idx="948">
                  <c:v>43280</c:v>
                </c:pt>
                <c:pt idx="949">
                  <c:v>43279</c:v>
                </c:pt>
                <c:pt idx="950">
                  <c:v>43278</c:v>
                </c:pt>
                <c:pt idx="951">
                  <c:v>43277</c:v>
                </c:pt>
                <c:pt idx="952">
                  <c:v>43276</c:v>
                </c:pt>
                <c:pt idx="953">
                  <c:v>43273</c:v>
                </c:pt>
                <c:pt idx="954">
                  <c:v>43272</c:v>
                </c:pt>
                <c:pt idx="955">
                  <c:v>43271</c:v>
                </c:pt>
                <c:pt idx="956">
                  <c:v>43270</c:v>
                </c:pt>
                <c:pt idx="957">
                  <c:v>43269</c:v>
                </c:pt>
                <c:pt idx="958">
                  <c:v>43266</c:v>
                </c:pt>
                <c:pt idx="959">
                  <c:v>43265</c:v>
                </c:pt>
                <c:pt idx="960">
                  <c:v>43264</c:v>
                </c:pt>
                <c:pt idx="961">
                  <c:v>43263</c:v>
                </c:pt>
                <c:pt idx="962">
                  <c:v>43262</c:v>
                </c:pt>
                <c:pt idx="963">
                  <c:v>43259</c:v>
                </c:pt>
                <c:pt idx="964">
                  <c:v>43258</c:v>
                </c:pt>
                <c:pt idx="965">
                  <c:v>43257</c:v>
                </c:pt>
                <c:pt idx="966">
                  <c:v>43256</c:v>
                </c:pt>
                <c:pt idx="967">
                  <c:v>43255</c:v>
                </c:pt>
                <c:pt idx="968">
                  <c:v>43252</c:v>
                </c:pt>
                <c:pt idx="969">
                  <c:v>43251</c:v>
                </c:pt>
                <c:pt idx="970">
                  <c:v>43250</c:v>
                </c:pt>
                <c:pt idx="971">
                  <c:v>43249</c:v>
                </c:pt>
                <c:pt idx="972">
                  <c:v>43245</c:v>
                </c:pt>
                <c:pt idx="973">
                  <c:v>43244</c:v>
                </c:pt>
                <c:pt idx="974">
                  <c:v>43243</c:v>
                </c:pt>
                <c:pt idx="975">
                  <c:v>43242</c:v>
                </c:pt>
                <c:pt idx="976">
                  <c:v>43241</c:v>
                </c:pt>
                <c:pt idx="977">
                  <c:v>43238</c:v>
                </c:pt>
                <c:pt idx="978">
                  <c:v>43237</c:v>
                </c:pt>
                <c:pt idx="979">
                  <c:v>43236</c:v>
                </c:pt>
                <c:pt idx="980">
                  <c:v>43235</c:v>
                </c:pt>
                <c:pt idx="981">
                  <c:v>43234</c:v>
                </c:pt>
                <c:pt idx="982">
                  <c:v>43231</c:v>
                </c:pt>
                <c:pt idx="983">
                  <c:v>43230</c:v>
                </c:pt>
                <c:pt idx="984">
                  <c:v>43229</c:v>
                </c:pt>
                <c:pt idx="985">
                  <c:v>43228</c:v>
                </c:pt>
                <c:pt idx="986">
                  <c:v>43227</c:v>
                </c:pt>
                <c:pt idx="987">
                  <c:v>43224</c:v>
                </c:pt>
                <c:pt idx="988">
                  <c:v>43223</c:v>
                </c:pt>
                <c:pt idx="989">
                  <c:v>43222</c:v>
                </c:pt>
                <c:pt idx="990">
                  <c:v>43221</c:v>
                </c:pt>
                <c:pt idx="991">
                  <c:v>43220</c:v>
                </c:pt>
                <c:pt idx="992">
                  <c:v>43217</c:v>
                </c:pt>
                <c:pt idx="993">
                  <c:v>43216</c:v>
                </c:pt>
                <c:pt idx="994">
                  <c:v>43215</c:v>
                </c:pt>
                <c:pt idx="995">
                  <c:v>43214</c:v>
                </c:pt>
                <c:pt idx="996">
                  <c:v>43213</c:v>
                </c:pt>
                <c:pt idx="997">
                  <c:v>43210</c:v>
                </c:pt>
                <c:pt idx="998">
                  <c:v>43209</c:v>
                </c:pt>
                <c:pt idx="999">
                  <c:v>43208</c:v>
                </c:pt>
                <c:pt idx="1000">
                  <c:v>43207</c:v>
                </c:pt>
                <c:pt idx="1001">
                  <c:v>43206</c:v>
                </c:pt>
                <c:pt idx="1002">
                  <c:v>43203</c:v>
                </c:pt>
                <c:pt idx="1003">
                  <c:v>43202</c:v>
                </c:pt>
                <c:pt idx="1004">
                  <c:v>43201</c:v>
                </c:pt>
                <c:pt idx="1005">
                  <c:v>43200</c:v>
                </c:pt>
                <c:pt idx="1006">
                  <c:v>43199</c:v>
                </c:pt>
                <c:pt idx="1007">
                  <c:v>43196</c:v>
                </c:pt>
                <c:pt idx="1008">
                  <c:v>43195</c:v>
                </c:pt>
                <c:pt idx="1009">
                  <c:v>43194</c:v>
                </c:pt>
                <c:pt idx="1010">
                  <c:v>43193</c:v>
                </c:pt>
                <c:pt idx="1011">
                  <c:v>43192</c:v>
                </c:pt>
                <c:pt idx="1012">
                  <c:v>43188</c:v>
                </c:pt>
                <c:pt idx="1013">
                  <c:v>43187</c:v>
                </c:pt>
                <c:pt idx="1014">
                  <c:v>43186</c:v>
                </c:pt>
                <c:pt idx="1015">
                  <c:v>43185</c:v>
                </c:pt>
                <c:pt idx="1016">
                  <c:v>43182</c:v>
                </c:pt>
                <c:pt idx="1017">
                  <c:v>43181</c:v>
                </c:pt>
                <c:pt idx="1018">
                  <c:v>43180</c:v>
                </c:pt>
                <c:pt idx="1019">
                  <c:v>43179</c:v>
                </c:pt>
                <c:pt idx="1020">
                  <c:v>43178</c:v>
                </c:pt>
                <c:pt idx="1021">
                  <c:v>43175</c:v>
                </c:pt>
                <c:pt idx="1022">
                  <c:v>43174</c:v>
                </c:pt>
                <c:pt idx="1023">
                  <c:v>43173</c:v>
                </c:pt>
                <c:pt idx="1024">
                  <c:v>43172</c:v>
                </c:pt>
                <c:pt idx="1025">
                  <c:v>43171</c:v>
                </c:pt>
                <c:pt idx="1026">
                  <c:v>43168</c:v>
                </c:pt>
                <c:pt idx="1027">
                  <c:v>43167</c:v>
                </c:pt>
                <c:pt idx="1028">
                  <c:v>43166</c:v>
                </c:pt>
                <c:pt idx="1029">
                  <c:v>43165</c:v>
                </c:pt>
                <c:pt idx="1030">
                  <c:v>43164</c:v>
                </c:pt>
                <c:pt idx="1031">
                  <c:v>43161</c:v>
                </c:pt>
                <c:pt idx="1032">
                  <c:v>43160</c:v>
                </c:pt>
                <c:pt idx="1033">
                  <c:v>43159</c:v>
                </c:pt>
                <c:pt idx="1034">
                  <c:v>43158</c:v>
                </c:pt>
                <c:pt idx="1035">
                  <c:v>43157</c:v>
                </c:pt>
                <c:pt idx="1036">
                  <c:v>43154</c:v>
                </c:pt>
                <c:pt idx="1037">
                  <c:v>43153</c:v>
                </c:pt>
                <c:pt idx="1038">
                  <c:v>43152</c:v>
                </c:pt>
                <c:pt idx="1039">
                  <c:v>43151</c:v>
                </c:pt>
                <c:pt idx="1040">
                  <c:v>43147</c:v>
                </c:pt>
                <c:pt idx="1041">
                  <c:v>43146</c:v>
                </c:pt>
                <c:pt idx="1042">
                  <c:v>43145</c:v>
                </c:pt>
                <c:pt idx="1043">
                  <c:v>43144</c:v>
                </c:pt>
                <c:pt idx="1044">
                  <c:v>43143</c:v>
                </c:pt>
                <c:pt idx="1045">
                  <c:v>43140</c:v>
                </c:pt>
                <c:pt idx="1046">
                  <c:v>43139</c:v>
                </c:pt>
                <c:pt idx="1047">
                  <c:v>43138</c:v>
                </c:pt>
                <c:pt idx="1048">
                  <c:v>43137</c:v>
                </c:pt>
                <c:pt idx="1049">
                  <c:v>43136</c:v>
                </c:pt>
                <c:pt idx="1050">
                  <c:v>43133</c:v>
                </c:pt>
                <c:pt idx="1051">
                  <c:v>43132</c:v>
                </c:pt>
                <c:pt idx="1052">
                  <c:v>43131</c:v>
                </c:pt>
                <c:pt idx="1053">
                  <c:v>43130</c:v>
                </c:pt>
                <c:pt idx="1054">
                  <c:v>43129</c:v>
                </c:pt>
                <c:pt idx="1055">
                  <c:v>43126</c:v>
                </c:pt>
                <c:pt idx="1056">
                  <c:v>43125</c:v>
                </c:pt>
                <c:pt idx="1057">
                  <c:v>43124</c:v>
                </c:pt>
                <c:pt idx="1058">
                  <c:v>43123</c:v>
                </c:pt>
                <c:pt idx="1059">
                  <c:v>43122</c:v>
                </c:pt>
                <c:pt idx="1060">
                  <c:v>43119</c:v>
                </c:pt>
                <c:pt idx="1061">
                  <c:v>43118</c:v>
                </c:pt>
                <c:pt idx="1062">
                  <c:v>43117</c:v>
                </c:pt>
                <c:pt idx="1063">
                  <c:v>43116</c:v>
                </c:pt>
                <c:pt idx="1064">
                  <c:v>43112</c:v>
                </c:pt>
                <c:pt idx="1065">
                  <c:v>43111</c:v>
                </c:pt>
                <c:pt idx="1066">
                  <c:v>43110</c:v>
                </c:pt>
                <c:pt idx="1067">
                  <c:v>43109</c:v>
                </c:pt>
                <c:pt idx="1068">
                  <c:v>43108</c:v>
                </c:pt>
                <c:pt idx="1069">
                  <c:v>43105</c:v>
                </c:pt>
                <c:pt idx="1070">
                  <c:v>43104</c:v>
                </c:pt>
                <c:pt idx="1071">
                  <c:v>43103</c:v>
                </c:pt>
                <c:pt idx="1072">
                  <c:v>43102</c:v>
                </c:pt>
                <c:pt idx="1073">
                  <c:v>43098</c:v>
                </c:pt>
                <c:pt idx="1074">
                  <c:v>43097</c:v>
                </c:pt>
                <c:pt idx="1075">
                  <c:v>43096</c:v>
                </c:pt>
                <c:pt idx="1076">
                  <c:v>43095</c:v>
                </c:pt>
                <c:pt idx="1077">
                  <c:v>43091</c:v>
                </c:pt>
                <c:pt idx="1078">
                  <c:v>43090</c:v>
                </c:pt>
                <c:pt idx="1079">
                  <c:v>43089</c:v>
                </c:pt>
                <c:pt idx="1080">
                  <c:v>43088</c:v>
                </c:pt>
                <c:pt idx="1081">
                  <c:v>43087</c:v>
                </c:pt>
                <c:pt idx="1082">
                  <c:v>43084</c:v>
                </c:pt>
                <c:pt idx="1083">
                  <c:v>43083</c:v>
                </c:pt>
                <c:pt idx="1084">
                  <c:v>43082</c:v>
                </c:pt>
                <c:pt idx="1085">
                  <c:v>43081</c:v>
                </c:pt>
                <c:pt idx="1086">
                  <c:v>43080</c:v>
                </c:pt>
                <c:pt idx="1087">
                  <c:v>43077</c:v>
                </c:pt>
                <c:pt idx="1088">
                  <c:v>43076</c:v>
                </c:pt>
                <c:pt idx="1089">
                  <c:v>43075</c:v>
                </c:pt>
                <c:pt idx="1090">
                  <c:v>43074</c:v>
                </c:pt>
                <c:pt idx="1091">
                  <c:v>43073</c:v>
                </c:pt>
                <c:pt idx="1092">
                  <c:v>43070</c:v>
                </c:pt>
                <c:pt idx="1093">
                  <c:v>43069</c:v>
                </c:pt>
                <c:pt idx="1094">
                  <c:v>43068</c:v>
                </c:pt>
                <c:pt idx="1095">
                  <c:v>43067</c:v>
                </c:pt>
                <c:pt idx="1096">
                  <c:v>43066</c:v>
                </c:pt>
                <c:pt idx="1097">
                  <c:v>43063</c:v>
                </c:pt>
                <c:pt idx="1098">
                  <c:v>43061</c:v>
                </c:pt>
                <c:pt idx="1099">
                  <c:v>43060</c:v>
                </c:pt>
                <c:pt idx="1100">
                  <c:v>43059</c:v>
                </c:pt>
                <c:pt idx="1101">
                  <c:v>43056</c:v>
                </c:pt>
                <c:pt idx="1102">
                  <c:v>43055</c:v>
                </c:pt>
                <c:pt idx="1103">
                  <c:v>43054</c:v>
                </c:pt>
                <c:pt idx="1104">
                  <c:v>43053</c:v>
                </c:pt>
                <c:pt idx="1105">
                  <c:v>43052</c:v>
                </c:pt>
                <c:pt idx="1106">
                  <c:v>43049</c:v>
                </c:pt>
                <c:pt idx="1107">
                  <c:v>43048</c:v>
                </c:pt>
                <c:pt idx="1108">
                  <c:v>43047</c:v>
                </c:pt>
                <c:pt idx="1109">
                  <c:v>43046</c:v>
                </c:pt>
                <c:pt idx="1110">
                  <c:v>43045</c:v>
                </c:pt>
                <c:pt idx="1111">
                  <c:v>43042</c:v>
                </c:pt>
                <c:pt idx="1112">
                  <c:v>43041</c:v>
                </c:pt>
                <c:pt idx="1113">
                  <c:v>43040</c:v>
                </c:pt>
                <c:pt idx="1114">
                  <c:v>43039</c:v>
                </c:pt>
                <c:pt idx="1115">
                  <c:v>43038</c:v>
                </c:pt>
                <c:pt idx="1116">
                  <c:v>43035</c:v>
                </c:pt>
                <c:pt idx="1117">
                  <c:v>43034</c:v>
                </c:pt>
                <c:pt idx="1118">
                  <c:v>43033</c:v>
                </c:pt>
                <c:pt idx="1119">
                  <c:v>43032</c:v>
                </c:pt>
                <c:pt idx="1120">
                  <c:v>43031</c:v>
                </c:pt>
                <c:pt idx="1121">
                  <c:v>43028</c:v>
                </c:pt>
                <c:pt idx="1122">
                  <c:v>43027</c:v>
                </c:pt>
                <c:pt idx="1123">
                  <c:v>43026</c:v>
                </c:pt>
                <c:pt idx="1124">
                  <c:v>43025</c:v>
                </c:pt>
                <c:pt idx="1125">
                  <c:v>43024</c:v>
                </c:pt>
                <c:pt idx="1126">
                  <c:v>43021</c:v>
                </c:pt>
                <c:pt idx="1127">
                  <c:v>43020</c:v>
                </c:pt>
                <c:pt idx="1128">
                  <c:v>43019</c:v>
                </c:pt>
                <c:pt idx="1129">
                  <c:v>43018</c:v>
                </c:pt>
                <c:pt idx="1130">
                  <c:v>43017</c:v>
                </c:pt>
                <c:pt idx="1131">
                  <c:v>43014</c:v>
                </c:pt>
                <c:pt idx="1132">
                  <c:v>43013</c:v>
                </c:pt>
                <c:pt idx="1133">
                  <c:v>43012</c:v>
                </c:pt>
                <c:pt idx="1134">
                  <c:v>43011</c:v>
                </c:pt>
                <c:pt idx="1135">
                  <c:v>43010</c:v>
                </c:pt>
                <c:pt idx="1136">
                  <c:v>43007</c:v>
                </c:pt>
                <c:pt idx="1137">
                  <c:v>43006</c:v>
                </c:pt>
                <c:pt idx="1138">
                  <c:v>43005</c:v>
                </c:pt>
                <c:pt idx="1139">
                  <c:v>43004</c:v>
                </c:pt>
                <c:pt idx="1140">
                  <c:v>43003</c:v>
                </c:pt>
                <c:pt idx="1141">
                  <c:v>43000</c:v>
                </c:pt>
                <c:pt idx="1142">
                  <c:v>42999</c:v>
                </c:pt>
                <c:pt idx="1143">
                  <c:v>42998</c:v>
                </c:pt>
                <c:pt idx="1144">
                  <c:v>42997</c:v>
                </c:pt>
                <c:pt idx="1145">
                  <c:v>42996</c:v>
                </c:pt>
                <c:pt idx="1146">
                  <c:v>42993</c:v>
                </c:pt>
                <c:pt idx="1147">
                  <c:v>42992</c:v>
                </c:pt>
                <c:pt idx="1148">
                  <c:v>42991</c:v>
                </c:pt>
                <c:pt idx="1149">
                  <c:v>42990</c:v>
                </c:pt>
                <c:pt idx="1150">
                  <c:v>42989</c:v>
                </c:pt>
                <c:pt idx="1151">
                  <c:v>42986</c:v>
                </c:pt>
                <c:pt idx="1152">
                  <c:v>42985</c:v>
                </c:pt>
                <c:pt idx="1153">
                  <c:v>42984</c:v>
                </c:pt>
                <c:pt idx="1154">
                  <c:v>42983</c:v>
                </c:pt>
                <c:pt idx="1155">
                  <c:v>42979</c:v>
                </c:pt>
                <c:pt idx="1156">
                  <c:v>42978</c:v>
                </c:pt>
                <c:pt idx="1157">
                  <c:v>42977</c:v>
                </c:pt>
                <c:pt idx="1158">
                  <c:v>42976</c:v>
                </c:pt>
                <c:pt idx="1159">
                  <c:v>42975</c:v>
                </c:pt>
                <c:pt idx="1160">
                  <c:v>42972</c:v>
                </c:pt>
                <c:pt idx="1161">
                  <c:v>42971</c:v>
                </c:pt>
                <c:pt idx="1162">
                  <c:v>42970</c:v>
                </c:pt>
                <c:pt idx="1163">
                  <c:v>42969</c:v>
                </c:pt>
                <c:pt idx="1164">
                  <c:v>42968</c:v>
                </c:pt>
                <c:pt idx="1165">
                  <c:v>42965</c:v>
                </c:pt>
                <c:pt idx="1166">
                  <c:v>42964</c:v>
                </c:pt>
                <c:pt idx="1167">
                  <c:v>42963</c:v>
                </c:pt>
                <c:pt idx="1168">
                  <c:v>42962</c:v>
                </c:pt>
                <c:pt idx="1169">
                  <c:v>42961</c:v>
                </c:pt>
                <c:pt idx="1170">
                  <c:v>42958</c:v>
                </c:pt>
                <c:pt idx="1171">
                  <c:v>42957</c:v>
                </c:pt>
                <c:pt idx="1172">
                  <c:v>42956</c:v>
                </c:pt>
                <c:pt idx="1173">
                  <c:v>42955</c:v>
                </c:pt>
                <c:pt idx="1174">
                  <c:v>42954</c:v>
                </c:pt>
                <c:pt idx="1175">
                  <c:v>42951</c:v>
                </c:pt>
                <c:pt idx="1176">
                  <c:v>42950</c:v>
                </c:pt>
                <c:pt idx="1177">
                  <c:v>42949</c:v>
                </c:pt>
                <c:pt idx="1178">
                  <c:v>42948</c:v>
                </c:pt>
                <c:pt idx="1179">
                  <c:v>42947</c:v>
                </c:pt>
                <c:pt idx="1180">
                  <c:v>42944</c:v>
                </c:pt>
                <c:pt idx="1181">
                  <c:v>42943</c:v>
                </c:pt>
                <c:pt idx="1182">
                  <c:v>42942</c:v>
                </c:pt>
                <c:pt idx="1183">
                  <c:v>42941</c:v>
                </c:pt>
                <c:pt idx="1184">
                  <c:v>42940</c:v>
                </c:pt>
                <c:pt idx="1185">
                  <c:v>42937</c:v>
                </c:pt>
                <c:pt idx="1186">
                  <c:v>42936</c:v>
                </c:pt>
                <c:pt idx="1187">
                  <c:v>42935</c:v>
                </c:pt>
                <c:pt idx="1188">
                  <c:v>42934</c:v>
                </c:pt>
                <c:pt idx="1189">
                  <c:v>42933</c:v>
                </c:pt>
                <c:pt idx="1190">
                  <c:v>42930</c:v>
                </c:pt>
                <c:pt idx="1191">
                  <c:v>42929</c:v>
                </c:pt>
                <c:pt idx="1192">
                  <c:v>42928</c:v>
                </c:pt>
                <c:pt idx="1193">
                  <c:v>42927</c:v>
                </c:pt>
                <c:pt idx="1194">
                  <c:v>42926</c:v>
                </c:pt>
                <c:pt idx="1195">
                  <c:v>42923</c:v>
                </c:pt>
                <c:pt idx="1196">
                  <c:v>42922</c:v>
                </c:pt>
                <c:pt idx="1197">
                  <c:v>42921</c:v>
                </c:pt>
                <c:pt idx="1198">
                  <c:v>42919</c:v>
                </c:pt>
                <c:pt idx="1199">
                  <c:v>42916</c:v>
                </c:pt>
                <c:pt idx="1200">
                  <c:v>42915</c:v>
                </c:pt>
                <c:pt idx="1201">
                  <c:v>42914</c:v>
                </c:pt>
                <c:pt idx="1202">
                  <c:v>42913</c:v>
                </c:pt>
                <c:pt idx="1203">
                  <c:v>42912</c:v>
                </c:pt>
                <c:pt idx="1204">
                  <c:v>42909</c:v>
                </c:pt>
                <c:pt idx="1205">
                  <c:v>42908</c:v>
                </c:pt>
                <c:pt idx="1206">
                  <c:v>42907</c:v>
                </c:pt>
                <c:pt idx="1207">
                  <c:v>42906</c:v>
                </c:pt>
                <c:pt idx="1208">
                  <c:v>42905</c:v>
                </c:pt>
                <c:pt idx="1209">
                  <c:v>42902</c:v>
                </c:pt>
                <c:pt idx="1210">
                  <c:v>42901</c:v>
                </c:pt>
                <c:pt idx="1211">
                  <c:v>42900</c:v>
                </c:pt>
                <c:pt idx="1212">
                  <c:v>42899</c:v>
                </c:pt>
                <c:pt idx="1213">
                  <c:v>42898</c:v>
                </c:pt>
                <c:pt idx="1214">
                  <c:v>42895</c:v>
                </c:pt>
                <c:pt idx="1215">
                  <c:v>42894</c:v>
                </c:pt>
                <c:pt idx="1216">
                  <c:v>42893</c:v>
                </c:pt>
                <c:pt idx="1217">
                  <c:v>42892</c:v>
                </c:pt>
                <c:pt idx="1218">
                  <c:v>42891</c:v>
                </c:pt>
                <c:pt idx="1219">
                  <c:v>42888</c:v>
                </c:pt>
                <c:pt idx="1220">
                  <c:v>42887</c:v>
                </c:pt>
                <c:pt idx="1221">
                  <c:v>42886</c:v>
                </c:pt>
                <c:pt idx="1222">
                  <c:v>42885</c:v>
                </c:pt>
                <c:pt idx="1223">
                  <c:v>42881</c:v>
                </c:pt>
                <c:pt idx="1224">
                  <c:v>42880</c:v>
                </c:pt>
                <c:pt idx="1225">
                  <c:v>42879</c:v>
                </c:pt>
                <c:pt idx="1226">
                  <c:v>42878</c:v>
                </c:pt>
                <c:pt idx="1227">
                  <c:v>42877</c:v>
                </c:pt>
                <c:pt idx="1228">
                  <c:v>42874</c:v>
                </c:pt>
                <c:pt idx="1229">
                  <c:v>42873</c:v>
                </c:pt>
                <c:pt idx="1230">
                  <c:v>42872</c:v>
                </c:pt>
                <c:pt idx="1231">
                  <c:v>42871</c:v>
                </c:pt>
                <c:pt idx="1232">
                  <c:v>42870</c:v>
                </c:pt>
                <c:pt idx="1233">
                  <c:v>42867</c:v>
                </c:pt>
                <c:pt idx="1234">
                  <c:v>42866</c:v>
                </c:pt>
                <c:pt idx="1235">
                  <c:v>42865</c:v>
                </c:pt>
                <c:pt idx="1236">
                  <c:v>42864</c:v>
                </c:pt>
                <c:pt idx="1237">
                  <c:v>42863</c:v>
                </c:pt>
                <c:pt idx="1238">
                  <c:v>42860</c:v>
                </c:pt>
                <c:pt idx="1239">
                  <c:v>42859</c:v>
                </c:pt>
                <c:pt idx="1240">
                  <c:v>42858</c:v>
                </c:pt>
                <c:pt idx="1241">
                  <c:v>42857</c:v>
                </c:pt>
                <c:pt idx="1242">
                  <c:v>42856</c:v>
                </c:pt>
                <c:pt idx="1243">
                  <c:v>42853</c:v>
                </c:pt>
                <c:pt idx="1244">
                  <c:v>42852</c:v>
                </c:pt>
                <c:pt idx="1245">
                  <c:v>42851</c:v>
                </c:pt>
                <c:pt idx="1246">
                  <c:v>42850</c:v>
                </c:pt>
                <c:pt idx="1247">
                  <c:v>42849</c:v>
                </c:pt>
                <c:pt idx="1248">
                  <c:v>42846</c:v>
                </c:pt>
                <c:pt idx="1249">
                  <c:v>42845</c:v>
                </c:pt>
                <c:pt idx="1250">
                  <c:v>42844</c:v>
                </c:pt>
                <c:pt idx="1251">
                  <c:v>42843</c:v>
                </c:pt>
                <c:pt idx="1252">
                  <c:v>42842</c:v>
                </c:pt>
                <c:pt idx="1253">
                  <c:v>42838</c:v>
                </c:pt>
                <c:pt idx="1254">
                  <c:v>42837</c:v>
                </c:pt>
                <c:pt idx="1255">
                  <c:v>42836</c:v>
                </c:pt>
                <c:pt idx="1256">
                  <c:v>42835</c:v>
                </c:pt>
                <c:pt idx="1257">
                  <c:v>42832</c:v>
                </c:pt>
                <c:pt idx="1258">
                  <c:v>42831</c:v>
                </c:pt>
                <c:pt idx="1259">
                  <c:v>42830</c:v>
                </c:pt>
              </c:numCache>
            </c:numRef>
          </c:cat>
          <c:val>
            <c:numRef>
              <c:f>HistoricalData_1649215114570!$B$2:$B$1261</c:f>
              <c:numCache>
                <c:formatCode>"$"#,##0.00_);[Red]\("$"#,##0.00\)</c:formatCode>
                <c:ptCount val="1260"/>
                <c:pt idx="0">
                  <c:v>119.48</c:v>
                </c:pt>
                <c:pt idx="1">
                  <c:v>118.88</c:v>
                </c:pt>
                <c:pt idx="2">
                  <c:v>118.58</c:v>
                </c:pt>
                <c:pt idx="3">
                  <c:v>118.36</c:v>
                </c:pt>
                <c:pt idx="4">
                  <c:v>120.38</c:v>
                </c:pt>
                <c:pt idx="5">
                  <c:v>120.19</c:v>
                </c:pt>
                <c:pt idx="6">
                  <c:v>119.99</c:v>
                </c:pt>
                <c:pt idx="7">
                  <c:v>118.95</c:v>
                </c:pt>
                <c:pt idx="8">
                  <c:v>117.82</c:v>
                </c:pt>
                <c:pt idx="9">
                  <c:v>116.92</c:v>
                </c:pt>
                <c:pt idx="10">
                  <c:v>121.89</c:v>
                </c:pt>
                <c:pt idx="11">
                  <c:v>121.76</c:v>
                </c:pt>
                <c:pt idx="12">
                  <c:v>122.45</c:v>
                </c:pt>
                <c:pt idx="13">
                  <c:v>121.2</c:v>
                </c:pt>
                <c:pt idx="14">
                  <c:v>119.48</c:v>
                </c:pt>
                <c:pt idx="15">
                  <c:v>117.48</c:v>
                </c:pt>
                <c:pt idx="16">
                  <c:v>115.52</c:v>
                </c:pt>
                <c:pt idx="17">
                  <c:v>114.02</c:v>
                </c:pt>
                <c:pt idx="18" formatCode="&quot;$&quot;#,##0_);[Red]\(&quot;$&quot;#,##0\)">
                  <c:v>117</c:v>
                </c:pt>
                <c:pt idx="19">
                  <c:v>118.39</c:v>
                </c:pt>
                <c:pt idx="20">
                  <c:v>116.11</c:v>
                </c:pt>
                <c:pt idx="21">
                  <c:v>118.86</c:v>
                </c:pt>
                <c:pt idx="22">
                  <c:v>121.41</c:v>
                </c:pt>
                <c:pt idx="23">
                  <c:v>120.97</c:v>
                </c:pt>
                <c:pt idx="24">
                  <c:v>120.36</c:v>
                </c:pt>
                <c:pt idx="25">
                  <c:v>118.17</c:v>
                </c:pt>
                <c:pt idx="26">
                  <c:v>120.62</c:v>
                </c:pt>
                <c:pt idx="27">
                  <c:v>122.41</c:v>
                </c:pt>
                <c:pt idx="28">
                  <c:v>118.72</c:v>
                </c:pt>
                <c:pt idx="29">
                  <c:v>117.25</c:v>
                </c:pt>
                <c:pt idx="30">
                  <c:v>117.51</c:v>
                </c:pt>
                <c:pt idx="31">
                  <c:v>116.79</c:v>
                </c:pt>
                <c:pt idx="32">
                  <c:v>120.58</c:v>
                </c:pt>
                <c:pt idx="33">
                  <c:v>123.68</c:v>
                </c:pt>
                <c:pt idx="34">
                  <c:v>123.98</c:v>
                </c:pt>
                <c:pt idx="35">
                  <c:v>122.78</c:v>
                </c:pt>
                <c:pt idx="36">
                  <c:v>125.49</c:v>
                </c:pt>
                <c:pt idx="37">
                  <c:v>127.76</c:v>
                </c:pt>
                <c:pt idx="38">
                  <c:v>130.49</c:v>
                </c:pt>
                <c:pt idx="39">
                  <c:v>128.65</c:v>
                </c:pt>
                <c:pt idx="40">
                  <c:v>128.05000000000001</c:v>
                </c:pt>
                <c:pt idx="41">
                  <c:v>129.71</c:v>
                </c:pt>
                <c:pt idx="42">
                  <c:v>130.11000000000001</c:v>
                </c:pt>
                <c:pt idx="43">
                  <c:v>130.04</c:v>
                </c:pt>
                <c:pt idx="44">
                  <c:v>127.2</c:v>
                </c:pt>
                <c:pt idx="45">
                  <c:v>127.46</c:v>
                </c:pt>
                <c:pt idx="46">
                  <c:v>125.35</c:v>
                </c:pt>
                <c:pt idx="47">
                  <c:v>120.44</c:v>
                </c:pt>
                <c:pt idx="48">
                  <c:v>120.07</c:v>
                </c:pt>
                <c:pt idx="49">
                  <c:v>123.27</c:v>
                </c:pt>
                <c:pt idx="50">
                  <c:v>123.82</c:v>
                </c:pt>
                <c:pt idx="51">
                  <c:v>125.83</c:v>
                </c:pt>
                <c:pt idx="52">
                  <c:v>124.71</c:v>
                </c:pt>
                <c:pt idx="53">
                  <c:v>126.05</c:v>
                </c:pt>
                <c:pt idx="54">
                  <c:v>126.57</c:v>
                </c:pt>
                <c:pt idx="55">
                  <c:v>128.16</c:v>
                </c:pt>
                <c:pt idx="56">
                  <c:v>129.65</c:v>
                </c:pt>
                <c:pt idx="57">
                  <c:v>133.72</c:v>
                </c:pt>
                <c:pt idx="58">
                  <c:v>135.69999999999999</c:v>
                </c:pt>
                <c:pt idx="59">
                  <c:v>135.26</c:v>
                </c:pt>
                <c:pt idx="60">
                  <c:v>135.56</c:v>
                </c:pt>
                <c:pt idx="61">
                  <c:v>135.13999999999999</c:v>
                </c:pt>
                <c:pt idx="62">
                  <c:v>135.16</c:v>
                </c:pt>
                <c:pt idx="63">
                  <c:v>135.77000000000001</c:v>
                </c:pt>
                <c:pt idx="64">
                  <c:v>139.04</c:v>
                </c:pt>
                <c:pt idx="65">
                  <c:v>140.74</c:v>
                </c:pt>
                <c:pt idx="66" formatCode="&quot;$&quot;#,##0_);[Red]\(&quot;$&quot;#,##0\)">
                  <c:v>141</c:v>
                </c:pt>
                <c:pt idx="67">
                  <c:v>141.19</c:v>
                </c:pt>
                <c:pt idx="68">
                  <c:v>140.47</c:v>
                </c:pt>
                <c:pt idx="69">
                  <c:v>141.46</c:v>
                </c:pt>
                <c:pt idx="70">
                  <c:v>139.16</c:v>
                </c:pt>
                <c:pt idx="71">
                  <c:v>138.99</c:v>
                </c:pt>
                <c:pt idx="72">
                  <c:v>135.27000000000001</c:v>
                </c:pt>
                <c:pt idx="73">
                  <c:v>134.97999999999999</c:v>
                </c:pt>
                <c:pt idx="74">
                  <c:v>137.11000000000001</c:v>
                </c:pt>
                <c:pt idx="75">
                  <c:v>136.09</c:v>
                </c:pt>
                <c:pt idx="76">
                  <c:v>135.56</c:v>
                </c:pt>
                <c:pt idx="77">
                  <c:v>132.94</c:v>
                </c:pt>
                <c:pt idx="78">
                  <c:v>135.96</c:v>
                </c:pt>
                <c:pt idx="79">
                  <c:v>134.37</c:v>
                </c:pt>
                <c:pt idx="80">
                  <c:v>132.53</c:v>
                </c:pt>
                <c:pt idx="81">
                  <c:v>132.37</c:v>
                </c:pt>
                <c:pt idx="82">
                  <c:v>132.41999999999999</c:v>
                </c:pt>
                <c:pt idx="83">
                  <c:v>132.47</c:v>
                </c:pt>
                <c:pt idx="84">
                  <c:v>130.27000000000001</c:v>
                </c:pt>
                <c:pt idx="85">
                  <c:v>128.38</c:v>
                </c:pt>
                <c:pt idx="86">
                  <c:v>126.74</c:v>
                </c:pt>
                <c:pt idx="87">
                  <c:v>125.77</c:v>
                </c:pt>
                <c:pt idx="88">
                  <c:v>128.03</c:v>
                </c:pt>
                <c:pt idx="89">
                  <c:v>125.88</c:v>
                </c:pt>
                <c:pt idx="90">
                  <c:v>125.07</c:v>
                </c:pt>
                <c:pt idx="91">
                  <c:v>124.48</c:v>
                </c:pt>
                <c:pt idx="92">
                  <c:v>125.26</c:v>
                </c:pt>
                <c:pt idx="93">
                  <c:v>126.84</c:v>
                </c:pt>
                <c:pt idx="94">
                  <c:v>127.64</c:v>
                </c:pt>
                <c:pt idx="95">
                  <c:v>128.62</c:v>
                </c:pt>
                <c:pt idx="96">
                  <c:v>130.88999999999999</c:v>
                </c:pt>
                <c:pt idx="97">
                  <c:v>129.44</c:v>
                </c:pt>
                <c:pt idx="98">
                  <c:v>128.44999999999999</c:v>
                </c:pt>
                <c:pt idx="99">
                  <c:v>127.25</c:v>
                </c:pt>
                <c:pt idx="100">
                  <c:v>127.82</c:v>
                </c:pt>
                <c:pt idx="101">
                  <c:v>126.43</c:v>
                </c:pt>
                <c:pt idx="102">
                  <c:v>126.8</c:v>
                </c:pt>
                <c:pt idx="103">
                  <c:v>124.37</c:v>
                </c:pt>
                <c:pt idx="104">
                  <c:v>129.09</c:v>
                </c:pt>
                <c:pt idx="105">
                  <c:v>128.69999999999999</c:v>
                </c:pt>
                <c:pt idx="106">
                  <c:v>127.71</c:v>
                </c:pt>
                <c:pt idx="107">
                  <c:v>128.94</c:v>
                </c:pt>
                <c:pt idx="108">
                  <c:v>128.88999999999999</c:v>
                </c:pt>
                <c:pt idx="109">
                  <c:v>127.71</c:v>
                </c:pt>
                <c:pt idx="110">
                  <c:v>127.71</c:v>
                </c:pt>
                <c:pt idx="111">
                  <c:v>128.13</c:v>
                </c:pt>
                <c:pt idx="112">
                  <c:v>126.58</c:v>
                </c:pt>
                <c:pt idx="113">
                  <c:v>126.72</c:v>
                </c:pt>
                <c:pt idx="114">
                  <c:v>125.05</c:v>
                </c:pt>
                <c:pt idx="115">
                  <c:v>123.31</c:v>
                </c:pt>
                <c:pt idx="116">
                  <c:v>119.34</c:v>
                </c:pt>
                <c:pt idx="117">
                  <c:v>116.82</c:v>
                </c:pt>
                <c:pt idx="118">
                  <c:v>117.49</c:v>
                </c:pt>
                <c:pt idx="119">
                  <c:v>117.57</c:v>
                </c:pt>
                <c:pt idx="120" formatCode="&quot;$&quot;#,##0_);[Red]\(&quot;$&quot;#,##0\)">
                  <c:v>117</c:v>
                </c:pt>
                <c:pt idx="121">
                  <c:v>117.32</c:v>
                </c:pt>
                <c:pt idx="122">
                  <c:v>116.88</c:v>
                </c:pt>
                <c:pt idx="123">
                  <c:v>118.39</c:v>
                </c:pt>
                <c:pt idx="124">
                  <c:v>117.91</c:v>
                </c:pt>
                <c:pt idx="125">
                  <c:v>116.49</c:v>
                </c:pt>
                <c:pt idx="126">
                  <c:v>115.88</c:v>
                </c:pt>
                <c:pt idx="127">
                  <c:v>115.53</c:v>
                </c:pt>
                <c:pt idx="128">
                  <c:v>117.21</c:v>
                </c:pt>
                <c:pt idx="129">
                  <c:v>118.13</c:v>
                </c:pt>
                <c:pt idx="130">
                  <c:v>119.46</c:v>
                </c:pt>
                <c:pt idx="131">
                  <c:v>118.74</c:v>
                </c:pt>
                <c:pt idx="132">
                  <c:v>120.58</c:v>
                </c:pt>
                <c:pt idx="133">
                  <c:v>124.37</c:v>
                </c:pt>
                <c:pt idx="134">
                  <c:v>125.3</c:v>
                </c:pt>
                <c:pt idx="135">
                  <c:v>124.65</c:v>
                </c:pt>
                <c:pt idx="136">
                  <c:v>125.13</c:v>
                </c:pt>
                <c:pt idx="137">
                  <c:v>124.87</c:v>
                </c:pt>
                <c:pt idx="138">
                  <c:v>126.79</c:v>
                </c:pt>
                <c:pt idx="139">
                  <c:v>127.44</c:v>
                </c:pt>
                <c:pt idx="140">
                  <c:v>127.49</c:v>
                </c:pt>
                <c:pt idx="141">
                  <c:v>127.05</c:v>
                </c:pt>
                <c:pt idx="142">
                  <c:v>126.62</c:v>
                </c:pt>
                <c:pt idx="143">
                  <c:v>128.80000000000001</c:v>
                </c:pt>
                <c:pt idx="144">
                  <c:v>127.98</c:v>
                </c:pt>
                <c:pt idx="145">
                  <c:v>129.06</c:v>
                </c:pt>
                <c:pt idx="146">
                  <c:v>128.38999999999999</c:v>
                </c:pt>
                <c:pt idx="147">
                  <c:v>128.94</c:v>
                </c:pt>
                <c:pt idx="148">
                  <c:v>128.49</c:v>
                </c:pt>
                <c:pt idx="149">
                  <c:v>127.4</c:v>
                </c:pt>
                <c:pt idx="150">
                  <c:v>126.37</c:v>
                </c:pt>
                <c:pt idx="151">
                  <c:v>125.94</c:v>
                </c:pt>
                <c:pt idx="152">
                  <c:v>124.59</c:v>
                </c:pt>
                <c:pt idx="153">
                  <c:v>125.47</c:v>
                </c:pt>
                <c:pt idx="154">
                  <c:v>124.74</c:v>
                </c:pt>
                <c:pt idx="155">
                  <c:v>125.5</c:v>
                </c:pt>
                <c:pt idx="156">
                  <c:v>125.84</c:v>
                </c:pt>
                <c:pt idx="157">
                  <c:v>126.32</c:v>
                </c:pt>
                <c:pt idx="158">
                  <c:v>125.72</c:v>
                </c:pt>
                <c:pt idx="159">
                  <c:v>123.93</c:v>
                </c:pt>
                <c:pt idx="160">
                  <c:v>125.69</c:v>
                </c:pt>
                <c:pt idx="161">
                  <c:v>124.66</c:v>
                </c:pt>
                <c:pt idx="162">
                  <c:v>123.06</c:v>
                </c:pt>
                <c:pt idx="163">
                  <c:v>122.81</c:v>
                </c:pt>
                <c:pt idx="164">
                  <c:v>121.46</c:v>
                </c:pt>
                <c:pt idx="165">
                  <c:v>122.7</c:v>
                </c:pt>
                <c:pt idx="166">
                  <c:v>123.16</c:v>
                </c:pt>
                <c:pt idx="167">
                  <c:v>122.17</c:v>
                </c:pt>
                <c:pt idx="168">
                  <c:v>122.21</c:v>
                </c:pt>
                <c:pt idx="169">
                  <c:v>121.57</c:v>
                </c:pt>
                <c:pt idx="170">
                  <c:v>122.12</c:v>
                </c:pt>
                <c:pt idx="171">
                  <c:v>120.92</c:v>
                </c:pt>
                <c:pt idx="172">
                  <c:v>120.98</c:v>
                </c:pt>
                <c:pt idx="173">
                  <c:v>121.09</c:v>
                </c:pt>
                <c:pt idx="174">
                  <c:v>120.52</c:v>
                </c:pt>
                <c:pt idx="175">
                  <c:v>119.81</c:v>
                </c:pt>
                <c:pt idx="176">
                  <c:v>119.52</c:v>
                </c:pt>
                <c:pt idx="177">
                  <c:v>120.8</c:v>
                </c:pt>
                <c:pt idx="178">
                  <c:v>118.25</c:v>
                </c:pt>
                <c:pt idx="179">
                  <c:v>118.98</c:v>
                </c:pt>
                <c:pt idx="180">
                  <c:v>118.73</c:v>
                </c:pt>
                <c:pt idx="181">
                  <c:v>118.79</c:v>
                </c:pt>
                <c:pt idx="182">
                  <c:v>117.51</c:v>
                </c:pt>
                <c:pt idx="183">
                  <c:v>116.66</c:v>
                </c:pt>
                <c:pt idx="184">
                  <c:v>117.17</c:v>
                </c:pt>
                <c:pt idx="185">
                  <c:v>118.65</c:v>
                </c:pt>
                <c:pt idx="186">
                  <c:v>118.81</c:v>
                </c:pt>
                <c:pt idx="187">
                  <c:v>119.74</c:v>
                </c:pt>
                <c:pt idx="188">
                  <c:v>119.26</c:v>
                </c:pt>
                <c:pt idx="189">
                  <c:v>119.87</c:v>
                </c:pt>
                <c:pt idx="190">
                  <c:v>118.82</c:v>
                </c:pt>
                <c:pt idx="191">
                  <c:v>118.04</c:v>
                </c:pt>
                <c:pt idx="192">
                  <c:v>117.16</c:v>
                </c:pt>
                <c:pt idx="193">
                  <c:v>115.93</c:v>
                </c:pt>
                <c:pt idx="194">
                  <c:v>117.21</c:v>
                </c:pt>
                <c:pt idx="195">
                  <c:v>115.7</c:v>
                </c:pt>
                <c:pt idx="196">
                  <c:v>112.72</c:v>
                </c:pt>
                <c:pt idx="197">
                  <c:v>111.7</c:v>
                </c:pt>
                <c:pt idx="198">
                  <c:v>110.84</c:v>
                </c:pt>
                <c:pt idx="199">
                  <c:v>110.96</c:v>
                </c:pt>
                <c:pt idx="200">
                  <c:v>111.44</c:v>
                </c:pt>
                <c:pt idx="201">
                  <c:v>110.33</c:v>
                </c:pt>
                <c:pt idx="202">
                  <c:v>111.63</c:v>
                </c:pt>
                <c:pt idx="203">
                  <c:v>110.06</c:v>
                </c:pt>
                <c:pt idx="204">
                  <c:v>110.41</c:v>
                </c:pt>
                <c:pt idx="205">
                  <c:v>110.48</c:v>
                </c:pt>
                <c:pt idx="206">
                  <c:v>109.91</c:v>
                </c:pt>
                <c:pt idx="207">
                  <c:v>110.15</c:v>
                </c:pt>
                <c:pt idx="208">
                  <c:v>109.05</c:v>
                </c:pt>
                <c:pt idx="209">
                  <c:v>107.9</c:v>
                </c:pt>
                <c:pt idx="210" formatCode="&quot;$&quot;#,##0_);[Red]\(&quot;$&quot;#,##0\)">
                  <c:v>110</c:v>
                </c:pt>
                <c:pt idx="211">
                  <c:v>109.29</c:v>
                </c:pt>
                <c:pt idx="212">
                  <c:v>109.2</c:v>
                </c:pt>
                <c:pt idx="213">
                  <c:v>106.9</c:v>
                </c:pt>
                <c:pt idx="214">
                  <c:v>105.79</c:v>
                </c:pt>
                <c:pt idx="215">
                  <c:v>116.65</c:v>
                </c:pt>
                <c:pt idx="216">
                  <c:v>115.69</c:v>
                </c:pt>
                <c:pt idx="217">
                  <c:v>116.75</c:v>
                </c:pt>
                <c:pt idx="218">
                  <c:v>118.4</c:v>
                </c:pt>
                <c:pt idx="219">
                  <c:v>117.29</c:v>
                </c:pt>
                <c:pt idx="220">
                  <c:v>117.13</c:v>
                </c:pt>
                <c:pt idx="221">
                  <c:v>117.8</c:v>
                </c:pt>
                <c:pt idx="222">
                  <c:v>116.38</c:v>
                </c:pt>
                <c:pt idx="223">
                  <c:v>116.98</c:v>
                </c:pt>
                <c:pt idx="224">
                  <c:v>116.74</c:v>
                </c:pt>
                <c:pt idx="225">
                  <c:v>118.31</c:v>
                </c:pt>
                <c:pt idx="226">
                  <c:v>117.45</c:v>
                </c:pt>
                <c:pt idx="227">
                  <c:v>116.35</c:v>
                </c:pt>
                <c:pt idx="228">
                  <c:v>118.39</c:v>
                </c:pt>
                <c:pt idx="229">
                  <c:v>118.94</c:v>
                </c:pt>
                <c:pt idx="230">
                  <c:v>118.95</c:v>
                </c:pt>
                <c:pt idx="231">
                  <c:v>118.79</c:v>
                </c:pt>
                <c:pt idx="232">
                  <c:v>118.51</c:v>
                </c:pt>
                <c:pt idx="233">
                  <c:v>117.54</c:v>
                </c:pt>
                <c:pt idx="234">
                  <c:v>119.53</c:v>
                </c:pt>
                <c:pt idx="235">
                  <c:v>120.08</c:v>
                </c:pt>
                <c:pt idx="236">
                  <c:v>121.01</c:v>
                </c:pt>
                <c:pt idx="237">
                  <c:v>121.45</c:v>
                </c:pt>
                <c:pt idx="238">
                  <c:v>121.7</c:v>
                </c:pt>
                <c:pt idx="239">
                  <c:v>122.58</c:v>
                </c:pt>
                <c:pt idx="240">
                  <c:v>123.31</c:v>
                </c:pt>
                <c:pt idx="241">
                  <c:v>123.5</c:v>
                </c:pt>
                <c:pt idx="242">
                  <c:v>122.6</c:v>
                </c:pt>
                <c:pt idx="243" formatCode="&quot;$&quot;#,##0_);[Red]\(&quot;$&quot;#,##0\)">
                  <c:v>120</c:v>
                </c:pt>
                <c:pt idx="244">
                  <c:v>124.53</c:v>
                </c:pt>
                <c:pt idx="245">
                  <c:v>124.35</c:v>
                </c:pt>
                <c:pt idx="246">
                  <c:v>123.94</c:v>
                </c:pt>
                <c:pt idx="247">
                  <c:v>121.5</c:v>
                </c:pt>
                <c:pt idx="248">
                  <c:v>123.01</c:v>
                </c:pt>
                <c:pt idx="249">
                  <c:v>121.04</c:v>
                </c:pt>
                <c:pt idx="250">
                  <c:v>120.9</c:v>
                </c:pt>
                <c:pt idx="251">
                  <c:v>119.78</c:v>
                </c:pt>
                <c:pt idx="252">
                  <c:v>120.11</c:v>
                </c:pt>
                <c:pt idx="253">
                  <c:v>119.97</c:v>
                </c:pt>
                <c:pt idx="254">
                  <c:v>119.86</c:v>
                </c:pt>
                <c:pt idx="255">
                  <c:v>118.94</c:v>
                </c:pt>
                <c:pt idx="256">
                  <c:v>119.84</c:v>
                </c:pt>
                <c:pt idx="257">
                  <c:v>119.75</c:v>
                </c:pt>
                <c:pt idx="258">
                  <c:v>122.23</c:v>
                </c:pt>
                <c:pt idx="259">
                  <c:v>122.07</c:v>
                </c:pt>
                <c:pt idx="260">
                  <c:v>119.05</c:v>
                </c:pt>
                <c:pt idx="261">
                  <c:v>118.02</c:v>
                </c:pt>
                <c:pt idx="262">
                  <c:v>120.49</c:v>
                </c:pt>
                <c:pt idx="263">
                  <c:v>121.47</c:v>
                </c:pt>
                <c:pt idx="264">
                  <c:v>120.25</c:v>
                </c:pt>
                <c:pt idx="265">
                  <c:v>118.11</c:v>
                </c:pt>
                <c:pt idx="266">
                  <c:v>117.62</c:v>
                </c:pt>
                <c:pt idx="267">
                  <c:v>118.22</c:v>
                </c:pt>
                <c:pt idx="268">
                  <c:v>118.1</c:v>
                </c:pt>
                <c:pt idx="269">
                  <c:v>116.71</c:v>
                </c:pt>
                <c:pt idx="270">
                  <c:v>117.52</c:v>
                </c:pt>
                <c:pt idx="271">
                  <c:v>115.88</c:v>
                </c:pt>
                <c:pt idx="272">
                  <c:v>116.7</c:v>
                </c:pt>
                <c:pt idx="273">
                  <c:v>115.63</c:v>
                </c:pt>
                <c:pt idx="274">
                  <c:v>117.25</c:v>
                </c:pt>
                <c:pt idx="275">
                  <c:v>116.01</c:v>
                </c:pt>
                <c:pt idx="276">
                  <c:v>119.18</c:v>
                </c:pt>
                <c:pt idx="277">
                  <c:v>122.53</c:v>
                </c:pt>
                <c:pt idx="278">
                  <c:v>122.21</c:v>
                </c:pt>
                <c:pt idx="279">
                  <c:v>119.78</c:v>
                </c:pt>
                <c:pt idx="280">
                  <c:v>121.58</c:v>
                </c:pt>
                <c:pt idx="281">
                  <c:v>122.38</c:v>
                </c:pt>
                <c:pt idx="282">
                  <c:v>120.8</c:v>
                </c:pt>
                <c:pt idx="283">
                  <c:v>122.55</c:v>
                </c:pt>
                <c:pt idx="284">
                  <c:v>123.04</c:v>
                </c:pt>
                <c:pt idx="285">
                  <c:v>125.41</c:v>
                </c:pt>
                <c:pt idx="286">
                  <c:v>127.24</c:v>
                </c:pt>
                <c:pt idx="287">
                  <c:v>128.02000000000001</c:v>
                </c:pt>
                <c:pt idx="288">
                  <c:v>128.22999999999999</c:v>
                </c:pt>
                <c:pt idx="289">
                  <c:v>126.84</c:v>
                </c:pt>
                <c:pt idx="290">
                  <c:v>125.29</c:v>
                </c:pt>
                <c:pt idx="291">
                  <c:v>125.15</c:v>
                </c:pt>
                <c:pt idx="292">
                  <c:v>124.5</c:v>
                </c:pt>
                <c:pt idx="293">
                  <c:v>124.03</c:v>
                </c:pt>
                <c:pt idx="294">
                  <c:v>119.74</c:v>
                </c:pt>
                <c:pt idx="295">
                  <c:v>120.22</c:v>
                </c:pt>
                <c:pt idx="296">
                  <c:v>120.24</c:v>
                </c:pt>
                <c:pt idx="297">
                  <c:v>122.54</c:v>
                </c:pt>
                <c:pt idx="298">
                  <c:v>123.59</c:v>
                </c:pt>
                <c:pt idx="299">
                  <c:v>120.39</c:v>
                </c:pt>
                <c:pt idx="300">
                  <c:v>114.29</c:v>
                </c:pt>
                <c:pt idx="301">
                  <c:v>114.73</c:v>
                </c:pt>
                <c:pt idx="302">
                  <c:v>114.72</c:v>
                </c:pt>
                <c:pt idx="303">
                  <c:v>112.84</c:v>
                </c:pt>
                <c:pt idx="304">
                  <c:v>112.95</c:v>
                </c:pt>
                <c:pt idx="305">
                  <c:v>112.89</c:v>
                </c:pt>
                <c:pt idx="306">
                  <c:v>112.57</c:v>
                </c:pt>
                <c:pt idx="307">
                  <c:v>111.3</c:v>
                </c:pt>
                <c:pt idx="308">
                  <c:v>110.04</c:v>
                </c:pt>
                <c:pt idx="309">
                  <c:v>112.15</c:v>
                </c:pt>
                <c:pt idx="310">
                  <c:v>108.84</c:v>
                </c:pt>
                <c:pt idx="311">
                  <c:v>110.84</c:v>
                </c:pt>
                <c:pt idx="312">
                  <c:v>111.61</c:v>
                </c:pt>
                <c:pt idx="313">
                  <c:v>111.3</c:v>
                </c:pt>
                <c:pt idx="314">
                  <c:v>110.23</c:v>
                </c:pt>
                <c:pt idx="315">
                  <c:v>110.46</c:v>
                </c:pt>
                <c:pt idx="316">
                  <c:v>109.11</c:v>
                </c:pt>
                <c:pt idx="317">
                  <c:v>109.49</c:v>
                </c:pt>
                <c:pt idx="318">
                  <c:v>108.44</c:v>
                </c:pt>
                <c:pt idx="319">
                  <c:v>108.33</c:v>
                </c:pt>
                <c:pt idx="320">
                  <c:v>107.79</c:v>
                </c:pt>
                <c:pt idx="321">
                  <c:v>108.35</c:v>
                </c:pt>
                <c:pt idx="322">
                  <c:v>107.45</c:v>
                </c:pt>
                <c:pt idx="323">
                  <c:v>108.28</c:v>
                </c:pt>
                <c:pt idx="324">
                  <c:v>108.09</c:v>
                </c:pt>
                <c:pt idx="325">
                  <c:v>108.97</c:v>
                </c:pt>
                <c:pt idx="326">
                  <c:v>108.78</c:v>
                </c:pt>
                <c:pt idx="327">
                  <c:v>107.34</c:v>
                </c:pt>
                <c:pt idx="328">
                  <c:v>107.45</c:v>
                </c:pt>
                <c:pt idx="329">
                  <c:v>106.79</c:v>
                </c:pt>
                <c:pt idx="330">
                  <c:v>107.02</c:v>
                </c:pt>
                <c:pt idx="331">
                  <c:v>106.52</c:v>
                </c:pt>
                <c:pt idx="332">
                  <c:v>106.32</c:v>
                </c:pt>
                <c:pt idx="333">
                  <c:v>106.8</c:v>
                </c:pt>
                <c:pt idx="334">
                  <c:v>107.18</c:v>
                </c:pt>
                <c:pt idx="335">
                  <c:v>107.9</c:v>
                </c:pt>
                <c:pt idx="336">
                  <c:v>107.53</c:v>
                </c:pt>
                <c:pt idx="337">
                  <c:v>108.15</c:v>
                </c:pt>
                <c:pt idx="338">
                  <c:v>108.49</c:v>
                </c:pt>
                <c:pt idx="339">
                  <c:v>108.22</c:v>
                </c:pt>
                <c:pt idx="340">
                  <c:v>107.62</c:v>
                </c:pt>
                <c:pt idx="341">
                  <c:v>106.41</c:v>
                </c:pt>
                <c:pt idx="342">
                  <c:v>107.61</c:v>
                </c:pt>
                <c:pt idx="343">
                  <c:v>109.27</c:v>
                </c:pt>
                <c:pt idx="344">
                  <c:v>110.89</c:v>
                </c:pt>
                <c:pt idx="345" formatCode="&quot;$&quot;#,##0_);[Red]\(&quot;$&quot;#,##0\)">
                  <c:v>111</c:v>
                </c:pt>
                <c:pt idx="346">
                  <c:v>109.77</c:v>
                </c:pt>
                <c:pt idx="347">
                  <c:v>113.06</c:v>
                </c:pt>
                <c:pt idx="348">
                  <c:v>113.67</c:v>
                </c:pt>
                <c:pt idx="349">
                  <c:v>112.6</c:v>
                </c:pt>
                <c:pt idx="350">
                  <c:v>111.95</c:v>
                </c:pt>
                <c:pt idx="351">
                  <c:v>112.65</c:v>
                </c:pt>
                <c:pt idx="352">
                  <c:v>110.81</c:v>
                </c:pt>
                <c:pt idx="353">
                  <c:v>109.39</c:v>
                </c:pt>
                <c:pt idx="354">
                  <c:v>114.42</c:v>
                </c:pt>
                <c:pt idx="355">
                  <c:v>113.53</c:v>
                </c:pt>
                <c:pt idx="356">
                  <c:v>111.53</c:v>
                </c:pt>
                <c:pt idx="357">
                  <c:v>109.56</c:v>
                </c:pt>
                <c:pt idx="358">
                  <c:v>107.48</c:v>
                </c:pt>
                <c:pt idx="359">
                  <c:v>105.11</c:v>
                </c:pt>
                <c:pt idx="360" formatCode="&quot;$&quot;#,##0_);[Red]\(&quot;$&quot;#,##0\)">
                  <c:v>105</c:v>
                </c:pt>
                <c:pt idx="361">
                  <c:v>106.42</c:v>
                </c:pt>
                <c:pt idx="362">
                  <c:v>108.58</c:v>
                </c:pt>
                <c:pt idx="363" formatCode="&quot;$&quot;#,##0_);[Red]\(&quot;$&quot;#,##0\)">
                  <c:v>109</c:v>
                </c:pt>
                <c:pt idx="364">
                  <c:v>107.79</c:v>
                </c:pt>
                <c:pt idx="365">
                  <c:v>109.48</c:v>
                </c:pt>
                <c:pt idx="366">
                  <c:v>105.93</c:v>
                </c:pt>
                <c:pt idx="367">
                  <c:v>108.36</c:v>
                </c:pt>
                <c:pt idx="368">
                  <c:v>108.04</c:v>
                </c:pt>
                <c:pt idx="369">
                  <c:v>109.67</c:v>
                </c:pt>
                <c:pt idx="370">
                  <c:v>107.32</c:v>
                </c:pt>
                <c:pt idx="371">
                  <c:v>107.75</c:v>
                </c:pt>
                <c:pt idx="372">
                  <c:v>108.37</c:v>
                </c:pt>
                <c:pt idx="373">
                  <c:v>111.05</c:v>
                </c:pt>
                <c:pt idx="374">
                  <c:v>109.65</c:v>
                </c:pt>
                <c:pt idx="375">
                  <c:v>108.54</c:v>
                </c:pt>
                <c:pt idx="376">
                  <c:v>107.74</c:v>
                </c:pt>
                <c:pt idx="377">
                  <c:v>106.25</c:v>
                </c:pt>
                <c:pt idx="378">
                  <c:v>108.56</c:v>
                </c:pt>
                <c:pt idx="379">
                  <c:v>106.5</c:v>
                </c:pt>
                <c:pt idx="380">
                  <c:v>108.64</c:v>
                </c:pt>
                <c:pt idx="381">
                  <c:v>108.83</c:v>
                </c:pt>
                <c:pt idx="382">
                  <c:v>105.19</c:v>
                </c:pt>
                <c:pt idx="383">
                  <c:v>104.44</c:v>
                </c:pt>
                <c:pt idx="384">
                  <c:v>103.45</c:v>
                </c:pt>
                <c:pt idx="385">
                  <c:v>100.92</c:v>
                </c:pt>
                <c:pt idx="386">
                  <c:v>102.73</c:v>
                </c:pt>
                <c:pt idx="387">
                  <c:v>104.8</c:v>
                </c:pt>
                <c:pt idx="388">
                  <c:v>105.95</c:v>
                </c:pt>
                <c:pt idx="389">
                  <c:v>106.86</c:v>
                </c:pt>
                <c:pt idx="390">
                  <c:v>106.66</c:v>
                </c:pt>
                <c:pt idx="391">
                  <c:v>105.7</c:v>
                </c:pt>
                <c:pt idx="392">
                  <c:v>106.58</c:v>
                </c:pt>
                <c:pt idx="393">
                  <c:v>105.69</c:v>
                </c:pt>
                <c:pt idx="394">
                  <c:v>104.7</c:v>
                </c:pt>
                <c:pt idx="395" formatCode="&quot;$&quot;#,##0_);[Red]\(&quot;$&quot;#,##0\)">
                  <c:v>104</c:v>
                </c:pt>
                <c:pt idx="396">
                  <c:v>105.81</c:v>
                </c:pt>
                <c:pt idx="397">
                  <c:v>102.84</c:v>
                </c:pt>
                <c:pt idx="398">
                  <c:v>104.16</c:v>
                </c:pt>
                <c:pt idx="399">
                  <c:v>105.53</c:v>
                </c:pt>
                <c:pt idx="400">
                  <c:v>109.44</c:v>
                </c:pt>
                <c:pt idx="401">
                  <c:v>106.55</c:v>
                </c:pt>
                <c:pt idx="402">
                  <c:v>109.47</c:v>
                </c:pt>
                <c:pt idx="403">
                  <c:v>110.79</c:v>
                </c:pt>
                <c:pt idx="404">
                  <c:v>111.29</c:v>
                </c:pt>
                <c:pt idx="405">
                  <c:v>103.19</c:v>
                </c:pt>
                <c:pt idx="406">
                  <c:v>102.47</c:v>
                </c:pt>
                <c:pt idx="407">
                  <c:v>101.39</c:v>
                </c:pt>
                <c:pt idx="408">
                  <c:v>102.4</c:v>
                </c:pt>
                <c:pt idx="409">
                  <c:v>101.63</c:v>
                </c:pt>
                <c:pt idx="410">
                  <c:v>100.48</c:v>
                </c:pt>
                <c:pt idx="411">
                  <c:v>100.96</c:v>
                </c:pt>
                <c:pt idx="412">
                  <c:v>100.71</c:v>
                </c:pt>
                <c:pt idx="413">
                  <c:v>99.99</c:v>
                </c:pt>
                <c:pt idx="414">
                  <c:v>101.1</c:v>
                </c:pt>
                <c:pt idx="415">
                  <c:v>100.65</c:v>
                </c:pt>
                <c:pt idx="416">
                  <c:v>99.06</c:v>
                </c:pt>
                <c:pt idx="417">
                  <c:v>100.04</c:v>
                </c:pt>
                <c:pt idx="418">
                  <c:v>101.23</c:v>
                </c:pt>
                <c:pt idx="419">
                  <c:v>101.75</c:v>
                </c:pt>
                <c:pt idx="420">
                  <c:v>102.14</c:v>
                </c:pt>
                <c:pt idx="421">
                  <c:v>99.93</c:v>
                </c:pt>
                <c:pt idx="422">
                  <c:v>100.68</c:v>
                </c:pt>
                <c:pt idx="423">
                  <c:v>100.64</c:v>
                </c:pt>
                <c:pt idx="424">
                  <c:v>101.53</c:v>
                </c:pt>
                <c:pt idx="425">
                  <c:v>102.52</c:v>
                </c:pt>
                <c:pt idx="426">
                  <c:v>99.86</c:v>
                </c:pt>
                <c:pt idx="427">
                  <c:v>99.99</c:v>
                </c:pt>
                <c:pt idx="428">
                  <c:v>98.95</c:v>
                </c:pt>
                <c:pt idx="429">
                  <c:v>100.82</c:v>
                </c:pt>
                <c:pt idx="430">
                  <c:v>100.19</c:v>
                </c:pt>
                <c:pt idx="431">
                  <c:v>98.19</c:v>
                </c:pt>
                <c:pt idx="432">
                  <c:v>99.08</c:v>
                </c:pt>
                <c:pt idx="433">
                  <c:v>99.25</c:v>
                </c:pt>
                <c:pt idx="434">
                  <c:v>96.4</c:v>
                </c:pt>
                <c:pt idx="435">
                  <c:v>96.73</c:v>
                </c:pt>
                <c:pt idx="436">
                  <c:v>94.82</c:v>
                </c:pt>
                <c:pt idx="437">
                  <c:v>93.09</c:v>
                </c:pt>
                <c:pt idx="438">
                  <c:v>93.04</c:v>
                </c:pt>
                <c:pt idx="439">
                  <c:v>93.67</c:v>
                </c:pt>
                <c:pt idx="440">
                  <c:v>92.58</c:v>
                </c:pt>
                <c:pt idx="441">
                  <c:v>92.46</c:v>
                </c:pt>
                <c:pt idx="442">
                  <c:v>92.97</c:v>
                </c:pt>
                <c:pt idx="443">
                  <c:v>92.23</c:v>
                </c:pt>
                <c:pt idx="444">
                  <c:v>91.64</c:v>
                </c:pt>
                <c:pt idx="445">
                  <c:v>91.43</c:v>
                </c:pt>
                <c:pt idx="446">
                  <c:v>89.01</c:v>
                </c:pt>
                <c:pt idx="447">
                  <c:v>88.71</c:v>
                </c:pt>
                <c:pt idx="448">
                  <c:v>89.62</c:v>
                </c:pt>
                <c:pt idx="449">
                  <c:v>87.3</c:v>
                </c:pt>
                <c:pt idx="450">
                  <c:v>91.3</c:v>
                </c:pt>
                <c:pt idx="451">
                  <c:v>90.34</c:v>
                </c:pt>
                <c:pt idx="452">
                  <c:v>90.68</c:v>
                </c:pt>
                <c:pt idx="453">
                  <c:v>90.28</c:v>
                </c:pt>
                <c:pt idx="454">
                  <c:v>90.9</c:v>
                </c:pt>
                <c:pt idx="455">
                  <c:v>89.74</c:v>
                </c:pt>
                <c:pt idx="456">
                  <c:v>89.55</c:v>
                </c:pt>
                <c:pt idx="457">
                  <c:v>89.02</c:v>
                </c:pt>
                <c:pt idx="458">
                  <c:v>87.78</c:v>
                </c:pt>
                <c:pt idx="459">
                  <c:v>92.16</c:v>
                </c:pt>
                <c:pt idx="460">
                  <c:v>90.27</c:v>
                </c:pt>
                <c:pt idx="461">
                  <c:v>92.56</c:v>
                </c:pt>
                <c:pt idx="462">
                  <c:v>89.86</c:v>
                </c:pt>
                <c:pt idx="463">
                  <c:v>88.25</c:v>
                </c:pt>
                <c:pt idx="464">
                  <c:v>91.4</c:v>
                </c:pt>
                <c:pt idx="465">
                  <c:v>92.62</c:v>
                </c:pt>
                <c:pt idx="466">
                  <c:v>93.01</c:v>
                </c:pt>
                <c:pt idx="467">
                  <c:v>94.92</c:v>
                </c:pt>
                <c:pt idx="468">
                  <c:v>92.1</c:v>
                </c:pt>
                <c:pt idx="469">
                  <c:v>90.76</c:v>
                </c:pt>
                <c:pt idx="470">
                  <c:v>89.48</c:v>
                </c:pt>
                <c:pt idx="471">
                  <c:v>91.47</c:v>
                </c:pt>
                <c:pt idx="472">
                  <c:v>90.39</c:v>
                </c:pt>
                <c:pt idx="473">
                  <c:v>90.09</c:v>
                </c:pt>
                <c:pt idx="474">
                  <c:v>88.22</c:v>
                </c:pt>
                <c:pt idx="475">
                  <c:v>90.27</c:v>
                </c:pt>
                <c:pt idx="476">
                  <c:v>89.89</c:v>
                </c:pt>
                <c:pt idx="477">
                  <c:v>91.78</c:v>
                </c:pt>
                <c:pt idx="478">
                  <c:v>92.16</c:v>
                </c:pt>
                <c:pt idx="479">
                  <c:v>93.8</c:v>
                </c:pt>
                <c:pt idx="480">
                  <c:v>96.07</c:v>
                </c:pt>
                <c:pt idx="481">
                  <c:v>93.7</c:v>
                </c:pt>
                <c:pt idx="482">
                  <c:v>93.99</c:v>
                </c:pt>
                <c:pt idx="483">
                  <c:v>91.08</c:v>
                </c:pt>
                <c:pt idx="484">
                  <c:v>93.03</c:v>
                </c:pt>
                <c:pt idx="485">
                  <c:v>89.83</c:v>
                </c:pt>
                <c:pt idx="486">
                  <c:v>89.85</c:v>
                </c:pt>
                <c:pt idx="487">
                  <c:v>92.09</c:v>
                </c:pt>
                <c:pt idx="488">
                  <c:v>92.28</c:v>
                </c:pt>
                <c:pt idx="489">
                  <c:v>91.46</c:v>
                </c:pt>
                <c:pt idx="490">
                  <c:v>94.95</c:v>
                </c:pt>
                <c:pt idx="491">
                  <c:v>94.06</c:v>
                </c:pt>
                <c:pt idx="492">
                  <c:v>93.94</c:v>
                </c:pt>
                <c:pt idx="493">
                  <c:v>95.48</c:v>
                </c:pt>
                <c:pt idx="494">
                  <c:v>94.05</c:v>
                </c:pt>
                <c:pt idx="495" formatCode="&quot;$&quot;#,##0_);[Red]\(&quot;$&quot;#,##0\)">
                  <c:v>98</c:v>
                </c:pt>
                <c:pt idx="496">
                  <c:v>96.01</c:v>
                </c:pt>
                <c:pt idx="497" formatCode="&quot;$&quot;#,##0_);[Red]\(&quot;$&quot;#,##0\)">
                  <c:v>96</c:v>
                </c:pt>
                <c:pt idx="498">
                  <c:v>90.94</c:v>
                </c:pt>
                <c:pt idx="499">
                  <c:v>89.14</c:v>
                </c:pt>
                <c:pt idx="500">
                  <c:v>85.85</c:v>
                </c:pt>
                <c:pt idx="501">
                  <c:v>86.04</c:v>
                </c:pt>
                <c:pt idx="502">
                  <c:v>84.95</c:v>
                </c:pt>
                <c:pt idx="503">
                  <c:v>81.93</c:v>
                </c:pt>
                <c:pt idx="504">
                  <c:v>82.73</c:v>
                </c:pt>
                <c:pt idx="505">
                  <c:v>79.45</c:v>
                </c:pt>
                <c:pt idx="506">
                  <c:v>79.44</c:v>
                </c:pt>
                <c:pt idx="507">
                  <c:v>76.569999999999993</c:v>
                </c:pt>
                <c:pt idx="508">
                  <c:v>78.91</c:v>
                </c:pt>
                <c:pt idx="509">
                  <c:v>79.34</c:v>
                </c:pt>
                <c:pt idx="510">
                  <c:v>74.56</c:v>
                </c:pt>
                <c:pt idx="511">
                  <c:v>75.81</c:v>
                </c:pt>
                <c:pt idx="512">
                  <c:v>70.75</c:v>
                </c:pt>
                <c:pt idx="513">
                  <c:v>69.69</c:v>
                </c:pt>
                <c:pt idx="514">
                  <c:v>62.82</c:v>
                </c:pt>
                <c:pt idx="515" formatCode="&quot;$&quot;#,##0_);[Red]\(&quot;$&quot;#,##0\)">
                  <c:v>68</c:v>
                </c:pt>
                <c:pt idx="516">
                  <c:v>74.5</c:v>
                </c:pt>
                <c:pt idx="517">
                  <c:v>79.260000000000005</c:v>
                </c:pt>
                <c:pt idx="518">
                  <c:v>79.489999999999995</c:v>
                </c:pt>
                <c:pt idx="519">
                  <c:v>73.66</c:v>
                </c:pt>
                <c:pt idx="520">
                  <c:v>81.650000000000006</c:v>
                </c:pt>
                <c:pt idx="521">
                  <c:v>74.739999999999995</c:v>
                </c:pt>
                <c:pt idx="522">
                  <c:v>78.09</c:v>
                </c:pt>
                <c:pt idx="523">
                  <c:v>80.88</c:v>
                </c:pt>
                <c:pt idx="524">
                  <c:v>77.02</c:v>
                </c:pt>
                <c:pt idx="525">
                  <c:v>81.739999999999995</c:v>
                </c:pt>
                <c:pt idx="526">
                  <c:v>80.52</c:v>
                </c:pt>
                <c:pt idx="527">
                  <c:v>82.09</c:v>
                </c:pt>
                <c:pt idx="528">
                  <c:v>77.989999999999995</c:v>
                </c:pt>
                <c:pt idx="529">
                  <c:v>81.61</c:v>
                </c:pt>
                <c:pt idx="530">
                  <c:v>77.03</c:v>
                </c:pt>
                <c:pt idx="531">
                  <c:v>79.19</c:v>
                </c:pt>
                <c:pt idx="532">
                  <c:v>81.36</c:v>
                </c:pt>
                <c:pt idx="533">
                  <c:v>81.13</c:v>
                </c:pt>
                <c:pt idx="534">
                  <c:v>84.63</c:v>
                </c:pt>
                <c:pt idx="535">
                  <c:v>87.45</c:v>
                </c:pt>
                <c:pt idx="536">
                  <c:v>88.46</c:v>
                </c:pt>
                <c:pt idx="537">
                  <c:v>89.36</c:v>
                </c:pt>
                <c:pt idx="538">
                  <c:v>88.88</c:v>
                </c:pt>
                <c:pt idx="539">
                  <c:v>89.66</c:v>
                </c:pt>
                <c:pt idx="540">
                  <c:v>88.68</c:v>
                </c:pt>
                <c:pt idx="541">
                  <c:v>88.79</c:v>
                </c:pt>
                <c:pt idx="542">
                  <c:v>89.17</c:v>
                </c:pt>
                <c:pt idx="543">
                  <c:v>88.3</c:v>
                </c:pt>
                <c:pt idx="544">
                  <c:v>87.87</c:v>
                </c:pt>
                <c:pt idx="545">
                  <c:v>89.47</c:v>
                </c:pt>
                <c:pt idx="546">
                  <c:v>89.56</c:v>
                </c:pt>
                <c:pt idx="547">
                  <c:v>88.23</c:v>
                </c:pt>
                <c:pt idx="548">
                  <c:v>87.06</c:v>
                </c:pt>
                <c:pt idx="549">
                  <c:v>87.14</c:v>
                </c:pt>
                <c:pt idx="550">
                  <c:v>89.16</c:v>
                </c:pt>
                <c:pt idx="551">
                  <c:v>89.14</c:v>
                </c:pt>
                <c:pt idx="552">
                  <c:v>89.54</c:v>
                </c:pt>
                <c:pt idx="553">
                  <c:v>89.59</c:v>
                </c:pt>
                <c:pt idx="554">
                  <c:v>90.4</c:v>
                </c:pt>
                <c:pt idx="555">
                  <c:v>90.73</c:v>
                </c:pt>
                <c:pt idx="556">
                  <c:v>91.86</c:v>
                </c:pt>
                <c:pt idx="557">
                  <c:v>89.73</c:v>
                </c:pt>
                <c:pt idx="558" formatCode="&quot;$&quot;#,##0_);[Red]\(&quot;$&quot;#,##0\)">
                  <c:v>89</c:v>
                </c:pt>
                <c:pt idx="559">
                  <c:v>88.28</c:v>
                </c:pt>
                <c:pt idx="560">
                  <c:v>87.38</c:v>
                </c:pt>
                <c:pt idx="561">
                  <c:v>85.74</c:v>
                </c:pt>
                <c:pt idx="562">
                  <c:v>85.12</c:v>
                </c:pt>
                <c:pt idx="563">
                  <c:v>85.36</c:v>
                </c:pt>
                <c:pt idx="564">
                  <c:v>86.44</c:v>
                </c:pt>
                <c:pt idx="565">
                  <c:v>86.21</c:v>
                </c:pt>
                <c:pt idx="566">
                  <c:v>85.86</c:v>
                </c:pt>
                <c:pt idx="567">
                  <c:v>86.34</c:v>
                </c:pt>
                <c:pt idx="568">
                  <c:v>85.89</c:v>
                </c:pt>
                <c:pt idx="569">
                  <c:v>86.95</c:v>
                </c:pt>
                <c:pt idx="570">
                  <c:v>86.86</c:v>
                </c:pt>
                <c:pt idx="571">
                  <c:v>86.8</c:v>
                </c:pt>
                <c:pt idx="572">
                  <c:v>87.4</c:v>
                </c:pt>
                <c:pt idx="573">
                  <c:v>87.28</c:v>
                </c:pt>
                <c:pt idx="574">
                  <c:v>87.28</c:v>
                </c:pt>
                <c:pt idx="575">
                  <c:v>87.35</c:v>
                </c:pt>
                <c:pt idx="576">
                  <c:v>86.66</c:v>
                </c:pt>
                <c:pt idx="577">
                  <c:v>87.35</c:v>
                </c:pt>
                <c:pt idx="578">
                  <c:v>86.93</c:v>
                </c:pt>
                <c:pt idx="579">
                  <c:v>87.06</c:v>
                </c:pt>
                <c:pt idx="580">
                  <c:v>86.4</c:v>
                </c:pt>
                <c:pt idx="581">
                  <c:v>86.35</c:v>
                </c:pt>
                <c:pt idx="582">
                  <c:v>85.97</c:v>
                </c:pt>
                <c:pt idx="583">
                  <c:v>84.91</c:v>
                </c:pt>
                <c:pt idx="584">
                  <c:v>84.56</c:v>
                </c:pt>
                <c:pt idx="585">
                  <c:v>83.87</c:v>
                </c:pt>
                <c:pt idx="586">
                  <c:v>85.48</c:v>
                </c:pt>
                <c:pt idx="587">
                  <c:v>85.24</c:v>
                </c:pt>
                <c:pt idx="588">
                  <c:v>85.18</c:v>
                </c:pt>
                <c:pt idx="589">
                  <c:v>84.36</c:v>
                </c:pt>
                <c:pt idx="590">
                  <c:v>84.51</c:v>
                </c:pt>
                <c:pt idx="591">
                  <c:v>85.45</c:v>
                </c:pt>
                <c:pt idx="592">
                  <c:v>85.42</c:v>
                </c:pt>
                <c:pt idx="593">
                  <c:v>85.42</c:v>
                </c:pt>
                <c:pt idx="594">
                  <c:v>84.49</c:v>
                </c:pt>
                <c:pt idx="595">
                  <c:v>83.74</c:v>
                </c:pt>
                <c:pt idx="596">
                  <c:v>83.68</c:v>
                </c:pt>
                <c:pt idx="597">
                  <c:v>83.89</c:v>
                </c:pt>
                <c:pt idx="598">
                  <c:v>84.29</c:v>
                </c:pt>
                <c:pt idx="599">
                  <c:v>84.26</c:v>
                </c:pt>
                <c:pt idx="600">
                  <c:v>85.71</c:v>
                </c:pt>
                <c:pt idx="601">
                  <c:v>84.12</c:v>
                </c:pt>
                <c:pt idx="602">
                  <c:v>84.22</c:v>
                </c:pt>
                <c:pt idx="603">
                  <c:v>84.34</c:v>
                </c:pt>
                <c:pt idx="604">
                  <c:v>83.76</c:v>
                </c:pt>
                <c:pt idx="605">
                  <c:v>83.74</c:v>
                </c:pt>
                <c:pt idx="606">
                  <c:v>83.39</c:v>
                </c:pt>
                <c:pt idx="607">
                  <c:v>83.12</c:v>
                </c:pt>
                <c:pt idx="608">
                  <c:v>82.34</c:v>
                </c:pt>
                <c:pt idx="609">
                  <c:v>82.22</c:v>
                </c:pt>
                <c:pt idx="610">
                  <c:v>82.66</c:v>
                </c:pt>
                <c:pt idx="611">
                  <c:v>83.61</c:v>
                </c:pt>
                <c:pt idx="612">
                  <c:v>84.01</c:v>
                </c:pt>
                <c:pt idx="613">
                  <c:v>83.45</c:v>
                </c:pt>
                <c:pt idx="614">
                  <c:v>82.66</c:v>
                </c:pt>
                <c:pt idx="615">
                  <c:v>81.650000000000006</c:v>
                </c:pt>
                <c:pt idx="616">
                  <c:v>81.36</c:v>
                </c:pt>
                <c:pt idx="617">
                  <c:v>81.27</c:v>
                </c:pt>
                <c:pt idx="618">
                  <c:v>80.540000000000006</c:v>
                </c:pt>
                <c:pt idx="619">
                  <c:v>81.650000000000006</c:v>
                </c:pt>
                <c:pt idx="620">
                  <c:v>82.79</c:v>
                </c:pt>
                <c:pt idx="621">
                  <c:v>82.38</c:v>
                </c:pt>
                <c:pt idx="622">
                  <c:v>81.78</c:v>
                </c:pt>
                <c:pt idx="623">
                  <c:v>81.98</c:v>
                </c:pt>
                <c:pt idx="624">
                  <c:v>79.819999999999993</c:v>
                </c:pt>
                <c:pt idx="625">
                  <c:v>79.63</c:v>
                </c:pt>
                <c:pt idx="626">
                  <c:v>80.14</c:v>
                </c:pt>
                <c:pt idx="627">
                  <c:v>79.5</c:v>
                </c:pt>
                <c:pt idx="628">
                  <c:v>78.510000000000005</c:v>
                </c:pt>
                <c:pt idx="629">
                  <c:v>81.040000000000006</c:v>
                </c:pt>
                <c:pt idx="630">
                  <c:v>81.99</c:v>
                </c:pt>
                <c:pt idx="631">
                  <c:v>81.069999999999993</c:v>
                </c:pt>
                <c:pt idx="632">
                  <c:v>79.53</c:v>
                </c:pt>
                <c:pt idx="633">
                  <c:v>81.84</c:v>
                </c:pt>
                <c:pt idx="634">
                  <c:v>83.67</c:v>
                </c:pt>
                <c:pt idx="635">
                  <c:v>81.84</c:v>
                </c:pt>
                <c:pt idx="636">
                  <c:v>82.66</c:v>
                </c:pt>
                <c:pt idx="637">
                  <c:v>82.86</c:v>
                </c:pt>
                <c:pt idx="638">
                  <c:v>82.44</c:v>
                </c:pt>
                <c:pt idx="639">
                  <c:v>83.16</c:v>
                </c:pt>
                <c:pt idx="640">
                  <c:v>83.58</c:v>
                </c:pt>
                <c:pt idx="641">
                  <c:v>83.23</c:v>
                </c:pt>
                <c:pt idx="642">
                  <c:v>83.64</c:v>
                </c:pt>
                <c:pt idx="643">
                  <c:v>83.58</c:v>
                </c:pt>
                <c:pt idx="644">
                  <c:v>83.36</c:v>
                </c:pt>
                <c:pt idx="645">
                  <c:v>84.27</c:v>
                </c:pt>
                <c:pt idx="646">
                  <c:v>85.21</c:v>
                </c:pt>
                <c:pt idx="647">
                  <c:v>84.52</c:v>
                </c:pt>
                <c:pt idx="648">
                  <c:v>83.21</c:v>
                </c:pt>
                <c:pt idx="649">
                  <c:v>84.22</c:v>
                </c:pt>
                <c:pt idx="650">
                  <c:v>86.04</c:v>
                </c:pt>
                <c:pt idx="651">
                  <c:v>85.9</c:v>
                </c:pt>
                <c:pt idx="652">
                  <c:v>84.22</c:v>
                </c:pt>
                <c:pt idx="653">
                  <c:v>84.06</c:v>
                </c:pt>
                <c:pt idx="654">
                  <c:v>85.32</c:v>
                </c:pt>
                <c:pt idx="655">
                  <c:v>84.82</c:v>
                </c:pt>
                <c:pt idx="656">
                  <c:v>84.22</c:v>
                </c:pt>
                <c:pt idx="657">
                  <c:v>83.65</c:v>
                </c:pt>
                <c:pt idx="658">
                  <c:v>83.12</c:v>
                </c:pt>
                <c:pt idx="659">
                  <c:v>81.93</c:v>
                </c:pt>
                <c:pt idx="660">
                  <c:v>84.37</c:v>
                </c:pt>
                <c:pt idx="661">
                  <c:v>84.9</c:v>
                </c:pt>
                <c:pt idx="662">
                  <c:v>84.54</c:v>
                </c:pt>
                <c:pt idx="663">
                  <c:v>85.56</c:v>
                </c:pt>
                <c:pt idx="664">
                  <c:v>84.78</c:v>
                </c:pt>
                <c:pt idx="665">
                  <c:v>83.94</c:v>
                </c:pt>
                <c:pt idx="666">
                  <c:v>83.94</c:v>
                </c:pt>
                <c:pt idx="667">
                  <c:v>86.89</c:v>
                </c:pt>
                <c:pt idx="668">
                  <c:v>84.66</c:v>
                </c:pt>
                <c:pt idx="669">
                  <c:v>86.62</c:v>
                </c:pt>
                <c:pt idx="670">
                  <c:v>85.56</c:v>
                </c:pt>
                <c:pt idx="671">
                  <c:v>84.6</c:v>
                </c:pt>
                <c:pt idx="672">
                  <c:v>84.86</c:v>
                </c:pt>
                <c:pt idx="673">
                  <c:v>83.16</c:v>
                </c:pt>
                <c:pt idx="674">
                  <c:v>85.82</c:v>
                </c:pt>
                <c:pt idx="675">
                  <c:v>86.08</c:v>
                </c:pt>
                <c:pt idx="676">
                  <c:v>87.1</c:v>
                </c:pt>
                <c:pt idx="677">
                  <c:v>88.31</c:v>
                </c:pt>
                <c:pt idx="678">
                  <c:v>88.55</c:v>
                </c:pt>
                <c:pt idx="679">
                  <c:v>87.75</c:v>
                </c:pt>
                <c:pt idx="680" formatCode="&quot;$&quot;#,##0_);[Red]\(&quot;$&quot;#,##0\)">
                  <c:v>88</c:v>
                </c:pt>
                <c:pt idx="681">
                  <c:v>88.59</c:v>
                </c:pt>
                <c:pt idx="682">
                  <c:v>88.74</c:v>
                </c:pt>
                <c:pt idx="683">
                  <c:v>88.07</c:v>
                </c:pt>
                <c:pt idx="684">
                  <c:v>87.49</c:v>
                </c:pt>
                <c:pt idx="685">
                  <c:v>87.76</c:v>
                </c:pt>
                <c:pt idx="686">
                  <c:v>85.76</c:v>
                </c:pt>
                <c:pt idx="687">
                  <c:v>83.16</c:v>
                </c:pt>
                <c:pt idx="688">
                  <c:v>83.81</c:v>
                </c:pt>
                <c:pt idx="689">
                  <c:v>83.92</c:v>
                </c:pt>
                <c:pt idx="690">
                  <c:v>85.77</c:v>
                </c:pt>
                <c:pt idx="691">
                  <c:v>85.38</c:v>
                </c:pt>
                <c:pt idx="692">
                  <c:v>85.27</c:v>
                </c:pt>
                <c:pt idx="693">
                  <c:v>85.09</c:v>
                </c:pt>
                <c:pt idx="694">
                  <c:v>85.42</c:v>
                </c:pt>
                <c:pt idx="695">
                  <c:v>85.64</c:v>
                </c:pt>
                <c:pt idx="696">
                  <c:v>84.95</c:v>
                </c:pt>
                <c:pt idx="697">
                  <c:v>84.49</c:v>
                </c:pt>
                <c:pt idx="698">
                  <c:v>84.1</c:v>
                </c:pt>
                <c:pt idx="699">
                  <c:v>83.69</c:v>
                </c:pt>
                <c:pt idx="700">
                  <c:v>82.96</c:v>
                </c:pt>
                <c:pt idx="701">
                  <c:v>84.24</c:v>
                </c:pt>
                <c:pt idx="702">
                  <c:v>84.71</c:v>
                </c:pt>
                <c:pt idx="703" formatCode="&quot;$&quot;#,##0_);[Red]\(&quot;$&quot;#,##0\)">
                  <c:v>85</c:v>
                </c:pt>
                <c:pt idx="704">
                  <c:v>84.94</c:v>
                </c:pt>
                <c:pt idx="705">
                  <c:v>84.33</c:v>
                </c:pt>
                <c:pt idx="706">
                  <c:v>83.42</c:v>
                </c:pt>
                <c:pt idx="707">
                  <c:v>82.05</c:v>
                </c:pt>
                <c:pt idx="708">
                  <c:v>82.22</c:v>
                </c:pt>
                <c:pt idx="709">
                  <c:v>82.29</c:v>
                </c:pt>
                <c:pt idx="710">
                  <c:v>81.95</c:v>
                </c:pt>
                <c:pt idx="711">
                  <c:v>81.12</c:v>
                </c:pt>
                <c:pt idx="712">
                  <c:v>81.27</c:v>
                </c:pt>
                <c:pt idx="713">
                  <c:v>80.739999999999995</c:v>
                </c:pt>
                <c:pt idx="714">
                  <c:v>80.09</c:v>
                </c:pt>
                <c:pt idx="715">
                  <c:v>78.69</c:v>
                </c:pt>
                <c:pt idx="716">
                  <c:v>77.459999999999994</c:v>
                </c:pt>
                <c:pt idx="717">
                  <c:v>75.709999999999994</c:v>
                </c:pt>
                <c:pt idx="718">
                  <c:v>76.13</c:v>
                </c:pt>
                <c:pt idx="719">
                  <c:v>76.52</c:v>
                </c:pt>
                <c:pt idx="720">
                  <c:v>75.67</c:v>
                </c:pt>
                <c:pt idx="721">
                  <c:v>75.709999999999994</c:v>
                </c:pt>
                <c:pt idx="722">
                  <c:v>76.98</c:v>
                </c:pt>
                <c:pt idx="723">
                  <c:v>75.63</c:v>
                </c:pt>
                <c:pt idx="724">
                  <c:v>76.260000000000005</c:v>
                </c:pt>
                <c:pt idx="725">
                  <c:v>76.03</c:v>
                </c:pt>
                <c:pt idx="726">
                  <c:v>75.77</c:v>
                </c:pt>
                <c:pt idx="727">
                  <c:v>75.97</c:v>
                </c:pt>
                <c:pt idx="728">
                  <c:v>76.599999999999994</c:v>
                </c:pt>
                <c:pt idx="729">
                  <c:v>76.510000000000005</c:v>
                </c:pt>
                <c:pt idx="730">
                  <c:v>76.03</c:v>
                </c:pt>
                <c:pt idx="731">
                  <c:v>75.5</c:v>
                </c:pt>
                <c:pt idx="732">
                  <c:v>76.45</c:v>
                </c:pt>
                <c:pt idx="733">
                  <c:v>76.42</c:v>
                </c:pt>
                <c:pt idx="734">
                  <c:v>76.22</c:v>
                </c:pt>
                <c:pt idx="735">
                  <c:v>76.91</c:v>
                </c:pt>
                <c:pt idx="736">
                  <c:v>79.069999999999993</c:v>
                </c:pt>
                <c:pt idx="737">
                  <c:v>78.69</c:v>
                </c:pt>
                <c:pt idx="738">
                  <c:v>78.78</c:v>
                </c:pt>
                <c:pt idx="739">
                  <c:v>78.739999999999995</c:v>
                </c:pt>
                <c:pt idx="740">
                  <c:v>79.56</c:v>
                </c:pt>
                <c:pt idx="741">
                  <c:v>78.27</c:v>
                </c:pt>
                <c:pt idx="742">
                  <c:v>78.56</c:v>
                </c:pt>
                <c:pt idx="743">
                  <c:v>78.11</c:v>
                </c:pt>
                <c:pt idx="744">
                  <c:v>76.75</c:v>
                </c:pt>
                <c:pt idx="745">
                  <c:v>76.099999999999994</c:v>
                </c:pt>
                <c:pt idx="746">
                  <c:v>74.510000000000005</c:v>
                </c:pt>
                <c:pt idx="747">
                  <c:v>73.92</c:v>
                </c:pt>
                <c:pt idx="748">
                  <c:v>72.88</c:v>
                </c:pt>
                <c:pt idx="749">
                  <c:v>76.38</c:v>
                </c:pt>
                <c:pt idx="750">
                  <c:v>77.5</c:v>
                </c:pt>
                <c:pt idx="751">
                  <c:v>78.010000000000005</c:v>
                </c:pt>
                <c:pt idx="752">
                  <c:v>78.510000000000005</c:v>
                </c:pt>
                <c:pt idx="753">
                  <c:v>78.97</c:v>
                </c:pt>
                <c:pt idx="754">
                  <c:v>78.67</c:v>
                </c:pt>
                <c:pt idx="755">
                  <c:v>78.52</c:v>
                </c:pt>
                <c:pt idx="756" formatCode="&quot;$&quot;#,##0_);[Red]\(&quot;$&quot;#,##0\)">
                  <c:v>79</c:v>
                </c:pt>
                <c:pt idx="757">
                  <c:v>78.62</c:v>
                </c:pt>
                <c:pt idx="758">
                  <c:v>79.5</c:v>
                </c:pt>
                <c:pt idx="759">
                  <c:v>79.62</c:v>
                </c:pt>
                <c:pt idx="760">
                  <c:v>79.66</c:v>
                </c:pt>
                <c:pt idx="761">
                  <c:v>79.94</c:v>
                </c:pt>
                <c:pt idx="762">
                  <c:v>79.44</c:v>
                </c:pt>
                <c:pt idx="763">
                  <c:v>78.73</c:v>
                </c:pt>
                <c:pt idx="764" formatCode="&quot;$&quot;#,##0_);[Red]\(&quot;$&quot;#,##0\)">
                  <c:v>79</c:v>
                </c:pt>
                <c:pt idx="765">
                  <c:v>78.23</c:v>
                </c:pt>
                <c:pt idx="766">
                  <c:v>77.97</c:v>
                </c:pt>
                <c:pt idx="767">
                  <c:v>80.06</c:v>
                </c:pt>
                <c:pt idx="768">
                  <c:v>79.94</c:v>
                </c:pt>
                <c:pt idx="769">
                  <c:v>79.959999999999994</c:v>
                </c:pt>
                <c:pt idx="770">
                  <c:v>78.83</c:v>
                </c:pt>
                <c:pt idx="771">
                  <c:v>79.86</c:v>
                </c:pt>
                <c:pt idx="772">
                  <c:v>78.98</c:v>
                </c:pt>
                <c:pt idx="773">
                  <c:v>78.62</c:v>
                </c:pt>
                <c:pt idx="774">
                  <c:v>78.239999999999995</c:v>
                </c:pt>
                <c:pt idx="775">
                  <c:v>77.81</c:v>
                </c:pt>
                <c:pt idx="776">
                  <c:v>76.63</c:v>
                </c:pt>
                <c:pt idx="777">
                  <c:v>76.8</c:v>
                </c:pt>
                <c:pt idx="778">
                  <c:v>77.7</c:v>
                </c:pt>
                <c:pt idx="779">
                  <c:v>78.22</c:v>
                </c:pt>
                <c:pt idx="780">
                  <c:v>78.62</c:v>
                </c:pt>
                <c:pt idx="781">
                  <c:v>78.59</c:v>
                </c:pt>
                <c:pt idx="782">
                  <c:v>77.62</c:v>
                </c:pt>
                <c:pt idx="783">
                  <c:v>77.23</c:v>
                </c:pt>
                <c:pt idx="784">
                  <c:v>76.75</c:v>
                </c:pt>
                <c:pt idx="785">
                  <c:v>76.86</c:v>
                </c:pt>
                <c:pt idx="786">
                  <c:v>76.13</c:v>
                </c:pt>
                <c:pt idx="787">
                  <c:v>75.14</c:v>
                </c:pt>
                <c:pt idx="788">
                  <c:v>75.540000000000006</c:v>
                </c:pt>
                <c:pt idx="789" formatCode="&quot;$&quot;#,##0_);[Red]\(&quot;$&quot;#,##0\)">
                  <c:v>75</c:v>
                </c:pt>
                <c:pt idx="790">
                  <c:v>75.25</c:v>
                </c:pt>
                <c:pt idx="791">
                  <c:v>73.97</c:v>
                </c:pt>
                <c:pt idx="792">
                  <c:v>74.38</c:v>
                </c:pt>
                <c:pt idx="793">
                  <c:v>75.06</c:v>
                </c:pt>
                <c:pt idx="794">
                  <c:v>73.540000000000006</c:v>
                </c:pt>
                <c:pt idx="795">
                  <c:v>73.33</c:v>
                </c:pt>
                <c:pt idx="796">
                  <c:v>72.739999999999995</c:v>
                </c:pt>
                <c:pt idx="797">
                  <c:v>73.489999999999995</c:v>
                </c:pt>
                <c:pt idx="798">
                  <c:v>73.11</c:v>
                </c:pt>
                <c:pt idx="799">
                  <c:v>72.5</c:v>
                </c:pt>
                <c:pt idx="800">
                  <c:v>72.36</c:v>
                </c:pt>
                <c:pt idx="801">
                  <c:v>72.98</c:v>
                </c:pt>
                <c:pt idx="802">
                  <c:v>71.680000000000007</c:v>
                </c:pt>
                <c:pt idx="803">
                  <c:v>69.69</c:v>
                </c:pt>
                <c:pt idx="804">
                  <c:v>69.05</c:v>
                </c:pt>
                <c:pt idx="805">
                  <c:v>71.150000000000006</c:v>
                </c:pt>
                <c:pt idx="806">
                  <c:v>70.86</c:v>
                </c:pt>
                <c:pt idx="807">
                  <c:v>69.91</c:v>
                </c:pt>
                <c:pt idx="808">
                  <c:v>71.489999999999995</c:v>
                </c:pt>
                <c:pt idx="809">
                  <c:v>71.42</c:v>
                </c:pt>
                <c:pt idx="810">
                  <c:v>70.52</c:v>
                </c:pt>
                <c:pt idx="811">
                  <c:v>69.819999999999993</c:v>
                </c:pt>
                <c:pt idx="812">
                  <c:v>70.47</c:v>
                </c:pt>
                <c:pt idx="813">
                  <c:v>68.27</c:v>
                </c:pt>
                <c:pt idx="814">
                  <c:v>69.33</c:v>
                </c:pt>
                <c:pt idx="815">
                  <c:v>69.08</c:v>
                </c:pt>
                <c:pt idx="816">
                  <c:v>69.44</c:v>
                </c:pt>
                <c:pt idx="817">
                  <c:v>68.3</c:v>
                </c:pt>
                <c:pt idx="818">
                  <c:v>69.13</c:v>
                </c:pt>
                <c:pt idx="819">
                  <c:v>68.11</c:v>
                </c:pt>
                <c:pt idx="820">
                  <c:v>66.22</c:v>
                </c:pt>
                <c:pt idx="821">
                  <c:v>69.5</c:v>
                </c:pt>
                <c:pt idx="822">
                  <c:v>72.33</c:v>
                </c:pt>
                <c:pt idx="823">
                  <c:v>71.09</c:v>
                </c:pt>
                <c:pt idx="824">
                  <c:v>70.63</c:v>
                </c:pt>
                <c:pt idx="825">
                  <c:v>69.62</c:v>
                </c:pt>
                <c:pt idx="826">
                  <c:v>65.56</c:v>
                </c:pt>
                <c:pt idx="827">
                  <c:v>67.27</c:v>
                </c:pt>
                <c:pt idx="828">
                  <c:v>68.38</c:v>
                </c:pt>
                <c:pt idx="829" formatCode="&quot;$&quot;#,##0_);[Red]\(&quot;$&quot;#,##0\)">
                  <c:v>69</c:v>
                </c:pt>
                <c:pt idx="830">
                  <c:v>70.08</c:v>
                </c:pt>
                <c:pt idx="831">
                  <c:v>69.75</c:v>
                </c:pt>
                <c:pt idx="832">
                  <c:v>70.760000000000005</c:v>
                </c:pt>
                <c:pt idx="833">
                  <c:v>72.180000000000007</c:v>
                </c:pt>
                <c:pt idx="834">
                  <c:v>72.53</c:v>
                </c:pt>
                <c:pt idx="835">
                  <c:v>71.84</c:v>
                </c:pt>
                <c:pt idx="836">
                  <c:v>70.92</c:v>
                </c:pt>
                <c:pt idx="837">
                  <c:v>69.95</c:v>
                </c:pt>
                <c:pt idx="838">
                  <c:v>71.540000000000006</c:v>
                </c:pt>
                <c:pt idx="839">
                  <c:v>71.5</c:v>
                </c:pt>
                <c:pt idx="840">
                  <c:v>74.27</c:v>
                </c:pt>
                <c:pt idx="841">
                  <c:v>74.05</c:v>
                </c:pt>
                <c:pt idx="842">
                  <c:v>73.260000000000005</c:v>
                </c:pt>
                <c:pt idx="843">
                  <c:v>72.83</c:v>
                </c:pt>
                <c:pt idx="844">
                  <c:v>69.709999999999994</c:v>
                </c:pt>
                <c:pt idx="845">
                  <c:v>68.81</c:v>
                </c:pt>
                <c:pt idx="846">
                  <c:v>68.11</c:v>
                </c:pt>
                <c:pt idx="847">
                  <c:v>68.53</c:v>
                </c:pt>
                <c:pt idx="848">
                  <c:v>69.06</c:v>
                </c:pt>
                <c:pt idx="849">
                  <c:v>70.540000000000006</c:v>
                </c:pt>
                <c:pt idx="850">
                  <c:v>72.040000000000006</c:v>
                </c:pt>
                <c:pt idx="851">
                  <c:v>70.73</c:v>
                </c:pt>
                <c:pt idx="852">
                  <c:v>69.41</c:v>
                </c:pt>
                <c:pt idx="853">
                  <c:v>69.489999999999995</c:v>
                </c:pt>
                <c:pt idx="854">
                  <c:v>70.56</c:v>
                </c:pt>
                <c:pt idx="855">
                  <c:v>72.790000000000006</c:v>
                </c:pt>
                <c:pt idx="856">
                  <c:v>72.959999999999994</c:v>
                </c:pt>
                <c:pt idx="857">
                  <c:v>72.5</c:v>
                </c:pt>
                <c:pt idx="858">
                  <c:v>70.959999999999994</c:v>
                </c:pt>
                <c:pt idx="859">
                  <c:v>70.39</c:v>
                </c:pt>
                <c:pt idx="860">
                  <c:v>70.19</c:v>
                </c:pt>
                <c:pt idx="861">
                  <c:v>70.150000000000006</c:v>
                </c:pt>
                <c:pt idx="862">
                  <c:v>68.94</c:v>
                </c:pt>
                <c:pt idx="863" formatCode="&quot;$&quot;#,##0_);[Red]\(&quot;$&quot;#,##0\)">
                  <c:v>68</c:v>
                </c:pt>
                <c:pt idx="864">
                  <c:v>67.31</c:v>
                </c:pt>
                <c:pt idx="865">
                  <c:v>66.989999999999995</c:v>
                </c:pt>
                <c:pt idx="866">
                  <c:v>67.67</c:v>
                </c:pt>
                <c:pt idx="867">
                  <c:v>66.94</c:v>
                </c:pt>
                <c:pt idx="868">
                  <c:v>68.569999999999993</c:v>
                </c:pt>
                <c:pt idx="869">
                  <c:v>68.52</c:v>
                </c:pt>
                <c:pt idx="870">
                  <c:v>67.59</c:v>
                </c:pt>
                <c:pt idx="871">
                  <c:v>68.14</c:v>
                </c:pt>
                <c:pt idx="872">
                  <c:v>70.23</c:v>
                </c:pt>
                <c:pt idx="873">
                  <c:v>70.95</c:v>
                </c:pt>
                <c:pt idx="874">
                  <c:v>68.7</c:v>
                </c:pt>
                <c:pt idx="875">
                  <c:v>69.33</c:v>
                </c:pt>
                <c:pt idx="876">
                  <c:v>68.38</c:v>
                </c:pt>
                <c:pt idx="877">
                  <c:v>68.92</c:v>
                </c:pt>
                <c:pt idx="878">
                  <c:v>71.290000000000006</c:v>
                </c:pt>
                <c:pt idx="879">
                  <c:v>71.44</c:v>
                </c:pt>
                <c:pt idx="880">
                  <c:v>71.58</c:v>
                </c:pt>
                <c:pt idx="881">
                  <c:v>71.819999999999993</c:v>
                </c:pt>
                <c:pt idx="882">
                  <c:v>72.040000000000006</c:v>
                </c:pt>
                <c:pt idx="883">
                  <c:v>73.81</c:v>
                </c:pt>
                <c:pt idx="884">
                  <c:v>74.12</c:v>
                </c:pt>
                <c:pt idx="885">
                  <c:v>73.36</c:v>
                </c:pt>
                <c:pt idx="886">
                  <c:v>73.02</c:v>
                </c:pt>
                <c:pt idx="887">
                  <c:v>72.84</c:v>
                </c:pt>
                <c:pt idx="888">
                  <c:v>72.2</c:v>
                </c:pt>
                <c:pt idx="889">
                  <c:v>71.44</c:v>
                </c:pt>
                <c:pt idx="890">
                  <c:v>69.05</c:v>
                </c:pt>
                <c:pt idx="891">
                  <c:v>68.790000000000006</c:v>
                </c:pt>
                <c:pt idx="892">
                  <c:v>68.5</c:v>
                </c:pt>
                <c:pt idx="893">
                  <c:v>68.41</c:v>
                </c:pt>
                <c:pt idx="894">
                  <c:v>67.67</c:v>
                </c:pt>
                <c:pt idx="895">
                  <c:v>68.42</c:v>
                </c:pt>
                <c:pt idx="896">
                  <c:v>68.5</c:v>
                </c:pt>
                <c:pt idx="897">
                  <c:v>66.97</c:v>
                </c:pt>
                <c:pt idx="898">
                  <c:v>66.599999999999994</c:v>
                </c:pt>
                <c:pt idx="899">
                  <c:v>66.55</c:v>
                </c:pt>
                <c:pt idx="900">
                  <c:v>66.209999999999994</c:v>
                </c:pt>
                <c:pt idx="901">
                  <c:v>65.83</c:v>
                </c:pt>
                <c:pt idx="902" formatCode="&quot;$&quot;#,##0_);[Red]\(&quot;$&quot;#,##0\)">
                  <c:v>66</c:v>
                </c:pt>
                <c:pt idx="903">
                  <c:v>67.11</c:v>
                </c:pt>
                <c:pt idx="904">
                  <c:v>66.84</c:v>
                </c:pt>
                <c:pt idx="905">
                  <c:v>67.02</c:v>
                </c:pt>
                <c:pt idx="906">
                  <c:v>67.13</c:v>
                </c:pt>
                <c:pt idx="907">
                  <c:v>66.790000000000006</c:v>
                </c:pt>
                <c:pt idx="908">
                  <c:v>66.84</c:v>
                </c:pt>
                <c:pt idx="909">
                  <c:v>66.099999999999994</c:v>
                </c:pt>
                <c:pt idx="910">
                  <c:v>65.83</c:v>
                </c:pt>
                <c:pt idx="911">
                  <c:v>65.67</c:v>
                </c:pt>
                <c:pt idx="912">
                  <c:v>64.75</c:v>
                </c:pt>
                <c:pt idx="913">
                  <c:v>64.64</c:v>
                </c:pt>
                <c:pt idx="914">
                  <c:v>64.72</c:v>
                </c:pt>
                <c:pt idx="915">
                  <c:v>64.16</c:v>
                </c:pt>
                <c:pt idx="916">
                  <c:v>63.47</c:v>
                </c:pt>
                <c:pt idx="917">
                  <c:v>63.63</c:v>
                </c:pt>
                <c:pt idx="918">
                  <c:v>63.43</c:v>
                </c:pt>
                <c:pt idx="919">
                  <c:v>64.03</c:v>
                </c:pt>
                <c:pt idx="920">
                  <c:v>64.64</c:v>
                </c:pt>
                <c:pt idx="921">
                  <c:v>64.84</c:v>
                </c:pt>
                <c:pt idx="922">
                  <c:v>64.739999999999995</c:v>
                </c:pt>
                <c:pt idx="923">
                  <c:v>65.239999999999995</c:v>
                </c:pt>
                <c:pt idx="924">
                  <c:v>65.23</c:v>
                </c:pt>
                <c:pt idx="925">
                  <c:v>64.58</c:v>
                </c:pt>
                <c:pt idx="926">
                  <c:v>64.78</c:v>
                </c:pt>
                <c:pt idx="927">
                  <c:v>65.540000000000006</c:v>
                </c:pt>
                <c:pt idx="928">
                  <c:v>65.17</c:v>
                </c:pt>
                <c:pt idx="929">
                  <c:v>65.260000000000005</c:v>
                </c:pt>
                <c:pt idx="930">
                  <c:v>65.66</c:v>
                </c:pt>
                <c:pt idx="931">
                  <c:v>65.23</c:v>
                </c:pt>
                <c:pt idx="932">
                  <c:v>64.400000000000006</c:v>
                </c:pt>
                <c:pt idx="933">
                  <c:v>63.2</c:v>
                </c:pt>
                <c:pt idx="934">
                  <c:v>63.32</c:v>
                </c:pt>
                <c:pt idx="935">
                  <c:v>63.78</c:v>
                </c:pt>
                <c:pt idx="936">
                  <c:v>64.75</c:v>
                </c:pt>
                <c:pt idx="937">
                  <c:v>62.8</c:v>
                </c:pt>
                <c:pt idx="938">
                  <c:v>61.78</c:v>
                </c:pt>
                <c:pt idx="939">
                  <c:v>63.06</c:v>
                </c:pt>
                <c:pt idx="940">
                  <c:v>62.74</c:v>
                </c:pt>
                <c:pt idx="941">
                  <c:v>62.57</c:v>
                </c:pt>
                <c:pt idx="942">
                  <c:v>62.81</c:v>
                </c:pt>
                <c:pt idx="943">
                  <c:v>62.44</c:v>
                </c:pt>
                <c:pt idx="944">
                  <c:v>62.16</c:v>
                </c:pt>
                <c:pt idx="945">
                  <c:v>61.33</c:v>
                </c:pt>
                <c:pt idx="946">
                  <c:v>60.81</c:v>
                </c:pt>
                <c:pt idx="947" formatCode="&quot;$&quot;#,##0_);[Red]\(&quot;$&quot;#,##0\)">
                  <c:v>61</c:v>
                </c:pt>
                <c:pt idx="948">
                  <c:v>60.99</c:v>
                </c:pt>
                <c:pt idx="949">
                  <c:v>61.27</c:v>
                </c:pt>
                <c:pt idx="950">
                  <c:v>60.49</c:v>
                </c:pt>
                <c:pt idx="951">
                  <c:v>60.81</c:v>
                </c:pt>
                <c:pt idx="952">
                  <c:v>60.77</c:v>
                </c:pt>
                <c:pt idx="953">
                  <c:v>61.94</c:v>
                </c:pt>
                <c:pt idx="954">
                  <c:v>61.75</c:v>
                </c:pt>
                <c:pt idx="955">
                  <c:v>62.14</c:v>
                </c:pt>
                <c:pt idx="956">
                  <c:v>62.34</c:v>
                </c:pt>
                <c:pt idx="957">
                  <c:v>62.82</c:v>
                </c:pt>
                <c:pt idx="958">
                  <c:v>62.91</c:v>
                </c:pt>
                <c:pt idx="959">
                  <c:v>62.96</c:v>
                </c:pt>
                <c:pt idx="960">
                  <c:v>62.63</c:v>
                </c:pt>
                <c:pt idx="961">
                  <c:v>62.92</c:v>
                </c:pt>
                <c:pt idx="962">
                  <c:v>63.13</c:v>
                </c:pt>
                <c:pt idx="963">
                  <c:v>63.27</c:v>
                </c:pt>
                <c:pt idx="964">
                  <c:v>63.18</c:v>
                </c:pt>
                <c:pt idx="965">
                  <c:v>63.54</c:v>
                </c:pt>
                <c:pt idx="966">
                  <c:v>63.03</c:v>
                </c:pt>
                <c:pt idx="967">
                  <c:v>63.02</c:v>
                </c:pt>
                <c:pt idx="968">
                  <c:v>62.41</c:v>
                </c:pt>
                <c:pt idx="969">
                  <c:v>61.53</c:v>
                </c:pt>
                <c:pt idx="970">
                  <c:v>62.07</c:v>
                </c:pt>
                <c:pt idx="971">
                  <c:v>61.3</c:v>
                </c:pt>
                <c:pt idx="972">
                  <c:v>62.37</c:v>
                </c:pt>
                <c:pt idx="973">
                  <c:v>62.51</c:v>
                </c:pt>
                <c:pt idx="974">
                  <c:v>61.84</c:v>
                </c:pt>
                <c:pt idx="975">
                  <c:v>61.39</c:v>
                </c:pt>
                <c:pt idx="976">
                  <c:v>62.11</c:v>
                </c:pt>
                <c:pt idx="977">
                  <c:v>61.71</c:v>
                </c:pt>
                <c:pt idx="978">
                  <c:v>61.06</c:v>
                </c:pt>
                <c:pt idx="979">
                  <c:v>60.77</c:v>
                </c:pt>
                <c:pt idx="980">
                  <c:v>60.54</c:v>
                </c:pt>
                <c:pt idx="981">
                  <c:v>62.02</c:v>
                </c:pt>
                <c:pt idx="982">
                  <c:v>61.26</c:v>
                </c:pt>
                <c:pt idx="983">
                  <c:v>60.56</c:v>
                </c:pt>
                <c:pt idx="984">
                  <c:v>59.4</c:v>
                </c:pt>
                <c:pt idx="985">
                  <c:v>58.71</c:v>
                </c:pt>
                <c:pt idx="986">
                  <c:v>59.32</c:v>
                </c:pt>
                <c:pt idx="987">
                  <c:v>58.74</c:v>
                </c:pt>
                <c:pt idx="988">
                  <c:v>57.93</c:v>
                </c:pt>
                <c:pt idx="989">
                  <c:v>57.85</c:v>
                </c:pt>
                <c:pt idx="990">
                  <c:v>58.82</c:v>
                </c:pt>
                <c:pt idx="991">
                  <c:v>58.13</c:v>
                </c:pt>
                <c:pt idx="992">
                  <c:v>59.56</c:v>
                </c:pt>
                <c:pt idx="993">
                  <c:v>59.5</c:v>
                </c:pt>
                <c:pt idx="994">
                  <c:v>58.65</c:v>
                </c:pt>
                <c:pt idx="995">
                  <c:v>58.31</c:v>
                </c:pt>
                <c:pt idx="996">
                  <c:v>58.84</c:v>
                </c:pt>
                <c:pt idx="997">
                  <c:v>59.19</c:v>
                </c:pt>
                <c:pt idx="998">
                  <c:v>59.88</c:v>
                </c:pt>
                <c:pt idx="999">
                  <c:v>59.52</c:v>
                </c:pt>
                <c:pt idx="1000">
                  <c:v>59.8</c:v>
                </c:pt>
                <c:pt idx="1001">
                  <c:v>59.27</c:v>
                </c:pt>
                <c:pt idx="1002">
                  <c:v>58.49</c:v>
                </c:pt>
                <c:pt idx="1003">
                  <c:v>58.83</c:v>
                </c:pt>
                <c:pt idx="1004">
                  <c:v>58.45</c:v>
                </c:pt>
                <c:pt idx="1005">
                  <c:v>59.14</c:v>
                </c:pt>
                <c:pt idx="1006">
                  <c:v>58.22</c:v>
                </c:pt>
                <c:pt idx="1007">
                  <c:v>57.57</c:v>
                </c:pt>
                <c:pt idx="1008">
                  <c:v>59.86</c:v>
                </c:pt>
                <c:pt idx="1009">
                  <c:v>59.46</c:v>
                </c:pt>
                <c:pt idx="1010" formatCode="&quot;$&quot;#,##0_);[Red]\(&quot;$&quot;#,##0\)">
                  <c:v>59</c:v>
                </c:pt>
                <c:pt idx="1011">
                  <c:v>58.21</c:v>
                </c:pt>
                <c:pt idx="1012">
                  <c:v>59.92</c:v>
                </c:pt>
                <c:pt idx="1013">
                  <c:v>59.23</c:v>
                </c:pt>
                <c:pt idx="1014">
                  <c:v>60.28</c:v>
                </c:pt>
                <c:pt idx="1015">
                  <c:v>61.07</c:v>
                </c:pt>
                <c:pt idx="1016">
                  <c:v>59.5</c:v>
                </c:pt>
                <c:pt idx="1017">
                  <c:v>60.93</c:v>
                </c:pt>
                <c:pt idx="1018">
                  <c:v>62.42</c:v>
                </c:pt>
                <c:pt idx="1019">
                  <c:v>62.65</c:v>
                </c:pt>
                <c:pt idx="1020">
                  <c:v>62.26</c:v>
                </c:pt>
                <c:pt idx="1021">
                  <c:v>63.18</c:v>
                </c:pt>
                <c:pt idx="1022">
                  <c:v>62.59</c:v>
                </c:pt>
                <c:pt idx="1023">
                  <c:v>62.86</c:v>
                </c:pt>
                <c:pt idx="1024">
                  <c:v>63.2</c:v>
                </c:pt>
                <c:pt idx="1025">
                  <c:v>63.62</c:v>
                </c:pt>
                <c:pt idx="1026">
                  <c:v>63.6</c:v>
                </c:pt>
                <c:pt idx="1027">
                  <c:v>61.87</c:v>
                </c:pt>
                <c:pt idx="1028">
                  <c:v>61.29</c:v>
                </c:pt>
                <c:pt idx="1029">
                  <c:v>60.88</c:v>
                </c:pt>
                <c:pt idx="1030">
                  <c:v>60.37</c:v>
                </c:pt>
                <c:pt idx="1031">
                  <c:v>59.46</c:v>
                </c:pt>
                <c:pt idx="1032">
                  <c:v>58.79</c:v>
                </c:pt>
                <c:pt idx="1033">
                  <c:v>60.33</c:v>
                </c:pt>
                <c:pt idx="1034">
                  <c:v>60.55</c:v>
                </c:pt>
                <c:pt idx="1035">
                  <c:v>60.53</c:v>
                </c:pt>
                <c:pt idx="1036">
                  <c:v>59.71</c:v>
                </c:pt>
                <c:pt idx="1037">
                  <c:v>58.99</c:v>
                </c:pt>
                <c:pt idx="1038">
                  <c:v>58.99</c:v>
                </c:pt>
                <c:pt idx="1039">
                  <c:v>59.12</c:v>
                </c:pt>
                <c:pt idx="1040">
                  <c:v>60.17</c:v>
                </c:pt>
                <c:pt idx="1041">
                  <c:v>59.5</c:v>
                </c:pt>
                <c:pt idx="1042">
                  <c:v>58.28</c:v>
                </c:pt>
                <c:pt idx="1043">
                  <c:v>57.64</c:v>
                </c:pt>
                <c:pt idx="1044">
                  <c:v>57.41</c:v>
                </c:pt>
                <c:pt idx="1045">
                  <c:v>57.17</c:v>
                </c:pt>
                <c:pt idx="1046">
                  <c:v>56.27</c:v>
                </c:pt>
                <c:pt idx="1047">
                  <c:v>58.67</c:v>
                </c:pt>
                <c:pt idx="1048">
                  <c:v>58.86</c:v>
                </c:pt>
                <c:pt idx="1049">
                  <c:v>58.73</c:v>
                </c:pt>
                <c:pt idx="1050">
                  <c:v>61.69</c:v>
                </c:pt>
                <c:pt idx="1051">
                  <c:v>62.18</c:v>
                </c:pt>
                <c:pt idx="1052">
                  <c:v>62.16</c:v>
                </c:pt>
                <c:pt idx="1053">
                  <c:v>62.44</c:v>
                </c:pt>
                <c:pt idx="1054">
                  <c:v>63.31</c:v>
                </c:pt>
                <c:pt idx="1055">
                  <c:v>63.42</c:v>
                </c:pt>
                <c:pt idx="1056">
                  <c:v>63.22</c:v>
                </c:pt>
                <c:pt idx="1057">
                  <c:v>61.72</c:v>
                </c:pt>
                <c:pt idx="1058">
                  <c:v>59.23</c:v>
                </c:pt>
                <c:pt idx="1059">
                  <c:v>59.57</c:v>
                </c:pt>
                <c:pt idx="1060">
                  <c:v>59.31</c:v>
                </c:pt>
                <c:pt idx="1061">
                  <c:v>59.07</c:v>
                </c:pt>
                <c:pt idx="1062">
                  <c:v>58.99</c:v>
                </c:pt>
                <c:pt idx="1063">
                  <c:v>58.44</c:v>
                </c:pt>
                <c:pt idx="1064">
                  <c:v>58.84</c:v>
                </c:pt>
                <c:pt idx="1065">
                  <c:v>58.95</c:v>
                </c:pt>
                <c:pt idx="1066">
                  <c:v>58.83</c:v>
                </c:pt>
                <c:pt idx="1067">
                  <c:v>58.92</c:v>
                </c:pt>
                <c:pt idx="1068">
                  <c:v>58.82</c:v>
                </c:pt>
                <c:pt idx="1069">
                  <c:v>58.99</c:v>
                </c:pt>
                <c:pt idx="1070">
                  <c:v>58.82</c:v>
                </c:pt>
                <c:pt idx="1071">
                  <c:v>58.92</c:v>
                </c:pt>
                <c:pt idx="1072">
                  <c:v>58.79</c:v>
                </c:pt>
                <c:pt idx="1073">
                  <c:v>57.07</c:v>
                </c:pt>
                <c:pt idx="1074">
                  <c:v>57.46</c:v>
                </c:pt>
                <c:pt idx="1075">
                  <c:v>57.47</c:v>
                </c:pt>
                <c:pt idx="1076" formatCode="&quot;$&quot;#,##0_);[Red]\(&quot;$&quot;#,##0\)">
                  <c:v>57</c:v>
                </c:pt>
                <c:pt idx="1077">
                  <c:v>56.93</c:v>
                </c:pt>
                <c:pt idx="1078">
                  <c:v>56.93</c:v>
                </c:pt>
                <c:pt idx="1079">
                  <c:v>57.02</c:v>
                </c:pt>
                <c:pt idx="1080">
                  <c:v>56.8</c:v>
                </c:pt>
                <c:pt idx="1081">
                  <c:v>56.4</c:v>
                </c:pt>
                <c:pt idx="1082">
                  <c:v>55.5</c:v>
                </c:pt>
                <c:pt idx="1083">
                  <c:v>54.73</c:v>
                </c:pt>
                <c:pt idx="1084">
                  <c:v>55.06</c:v>
                </c:pt>
                <c:pt idx="1085">
                  <c:v>55.7</c:v>
                </c:pt>
                <c:pt idx="1086">
                  <c:v>54.94</c:v>
                </c:pt>
                <c:pt idx="1087">
                  <c:v>54.64</c:v>
                </c:pt>
                <c:pt idx="1088">
                  <c:v>54.69</c:v>
                </c:pt>
                <c:pt idx="1089">
                  <c:v>54.66</c:v>
                </c:pt>
                <c:pt idx="1090">
                  <c:v>54.79</c:v>
                </c:pt>
                <c:pt idx="1091">
                  <c:v>54.71</c:v>
                </c:pt>
                <c:pt idx="1092">
                  <c:v>55.98</c:v>
                </c:pt>
                <c:pt idx="1093">
                  <c:v>56.37</c:v>
                </c:pt>
                <c:pt idx="1094">
                  <c:v>55.58</c:v>
                </c:pt>
                <c:pt idx="1095">
                  <c:v>56.02</c:v>
                </c:pt>
                <c:pt idx="1096">
                  <c:v>56.15</c:v>
                </c:pt>
                <c:pt idx="1097">
                  <c:v>56.13</c:v>
                </c:pt>
                <c:pt idx="1098">
                  <c:v>55.8</c:v>
                </c:pt>
                <c:pt idx="1099">
                  <c:v>56.12</c:v>
                </c:pt>
                <c:pt idx="1100">
                  <c:v>55.29</c:v>
                </c:pt>
                <c:pt idx="1101">
                  <c:v>55.56</c:v>
                </c:pt>
                <c:pt idx="1102">
                  <c:v>55.54</c:v>
                </c:pt>
                <c:pt idx="1103">
                  <c:v>54.83</c:v>
                </c:pt>
                <c:pt idx="1104">
                  <c:v>55.01</c:v>
                </c:pt>
                <c:pt idx="1105">
                  <c:v>55.3</c:v>
                </c:pt>
                <c:pt idx="1106">
                  <c:v>54.8</c:v>
                </c:pt>
                <c:pt idx="1107">
                  <c:v>55.45</c:v>
                </c:pt>
                <c:pt idx="1108">
                  <c:v>55.25</c:v>
                </c:pt>
                <c:pt idx="1109">
                  <c:v>55.16</c:v>
                </c:pt>
                <c:pt idx="1110">
                  <c:v>55.01</c:v>
                </c:pt>
                <c:pt idx="1111">
                  <c:v>55.47</c:v>
                </c:pt>
                <c:pt idx="1112">
                  <c:v>54.37</c:v>
                </c:pt>
                <c:pt idx="1113" formatCode="&quot;$&quot;#,##0_);[Red]\(&quot;$&quot;#,##0\)">
                  <c:v>54</c:v>
                </c:pt>
                <c:pt idx="1114">
                  <c:v>54.23</c:v>
                </c:pt>
                <c:pt idx="1115">
                  <c:v>54.29</c:v>
                </c:pt>
                <c:pt idx="1116">
                  <c:v>55.37</c:v>
                </c:pt>
                <c:pt idx="1117">
                  <c:v>55.48</c:v>
                </c:pt>
                <c:pt idx="1118">
                  <c:v>55.49</c:v>
                </c:pt>
                <c:pt idx="1119">
                  <c:v>55.38</c:v>
                </c:pt>
                <c:pt idx="1120">
                  <c:v>56.08</c:v>
                </c:pt>
                <c:pt idx="1121">
                  <c:v>56.32</c:v>
                </c:pt>
                <c:pt idx="1122" formatCode="&quot;$&quot;#,##0_);[Red]\(&quot;$&quot;#,##0\)">
                  <c:v>56</c:v>
                </c:pt>
                <c:pt idx="1123">
                  <c:v>55.77</c:v>
                </c:pt>
                <c:pt idx="1124">
                  <c:v>55.06</c:v>
                </c:pt>
                <c:pt idx="1125">
                  <c:v>54.63</c:v>
                </c:pt>
                <c:pt idx="1126">
                  <c:v>54.65</c:v>
                </c:pt>
                <c:pt idx="1127">
                  <c:v>54.71</c:v>
                </c:pt>
                <c:pt idx="1128">
                  <c:v>54.44</c:v>
                </c:pt>
                <c:pt idx="1129">
                  <c:v>55.4</c:v>
                </c:pt>
                <c:pt idx="1130">
                  <c:v>54.66</c:v>
                </c:pt>
                <c:pt idx="1131" formatCode="&quot;$&quot;#,##0_);[Red]\(&quot;$&quot;#,##0\)">
                  <c:v>55</c:v>
                </c:pt>
                <c:pt idx="1132">
                  <c:v>54.92</c:v>
                </c:pt>
                <c:pt idx="1133">
                  <c:v>54.34</c:v>
                </c:pt>
                <c:pt idx="1134">
                  <c:v>53.75</c:v>
                </c:pt>
                <c:pt idx="1135">
                  <c:v>53.68</c:v>
                </c:pt>
                <c:pt idx="1136">
                  <c:v>53.36</c:v>
                </c:pt>
                <c:pt idx="1137">
                  <c:v>53.64</c:v>
                </c:pt>
                <c:pt idx="1138">
                  <c:v>52.15</c:v>
                </c:pt>
                <c:pt idx="1139">
                  <c:v>52.85</c:v>
                </c:pt>
                <c:pt idx="1140">
                  <c:v>52.61</c:v>
                </c:pt>
                <c:pt idx="1141">
                  <c:v>52.51</c:v>
                </c:pt>
                <c:pt idx="1142">
                  <c:v>51.43</c:v>
                </c:pt>
                <c:pt idx="1143">
                  <c:v>51.89</c:v>
                </c:pt>
                <c:pt idx="1144">
                  <c:v>51.41</c:v>
                </c:pt>
                <c:pt idx="1145">
                  <c:v>52.08</c:v>
                </c:pt>
                <c:pt idx="1146">
                  <c:v>51.76</c:v>
                </c:pt>
                <c:pt idx="1147">
                  <c:v>51.69</c:v>
                </c:pt>
                <c:pt idx="1148" formatCode="&quot;$&quot;#,##0_);[Red]\(&quot;$&quot;#,##0\)">
                  <c:v>52</c:v>
                </c:pt>
                <c:pt idx="1149">
                  <c:v>52.25</c:v>
                </c:pt>
                <c:pt idx="1150">
                  <c:v>52.45</c:v>
                </c:pt>
                <c:pt idx="1151">
                  <c:v>52.02</c:v>
                </c:pt>
                <c:pt idx="1152">
                  <c:v>51.49</c:v>
                </c:pt>
                <c:pt idx="1153">
                  <c:v>51.19</c:v>
                </c:pt>
                <c:pt idx="1154">
                  <c:v>51.03</c:v>
                </c:pt>
                <c:pt idx="1155">
                  <c:v>51.18</c:v>
                </c:pt>
                <c:pt idx="1156">
                  <c:v>50.94</c:v>
                </c:pt>
                <c:pt idx="1157">
                  <c:v>50.11</c:v>
                </c:pt>
                <c:pt idx="1158">
                  <c:v>50.15</c:v>
                </c:pt>
                <c:pt idx="1159">
                  <c:v>50.26</c:v>
                </c:pt>
                <c:pt idx="1160">
                  <c:v>49.35</c:v>
                </c:pt>
                <c:pt idx="1161">
                  <c:v>49.38</c:v>
                </c:pt>
                <c:pt idx="1162">
                  <c:v>49.64</c:v>
                </c:pt>
                <c:pt idx="1163">
                  <c:v>49.71</c:v>
                </c:pt>
                <c:pt idx="1164">
                  <c:v>48.88</c:v>
                </c:pt>
                <c:pt idx="1165">
                  <c:v>48.74</c:v>
                </c:pt>
                <c:pt idx="1166">
                  <c:v>49.29</c:v>
                </c:pt>
                <c:pt idx="1167">
                  <c:v>49.81</c:v>
                </c:pt>
                <c:pt idx="1168">
                  <c:v>48.82</c:v>
                </c:pt>
                <c:pt idx="1169">
                  <c:v>49.08</c:v>
                </c:pt>
                <c:pt idx="1170">
                  <c:v>48.54</c:v>
                </c:pt>
                <c:pt idx="1171">
                  <c:v>48.06</c:v>
                </c:pt>
                <c:pt idx="1172">
                  <c:v>48.77</c:v>
                </c:pt>
                <c:pt idx="1173">
                  <c:v>48.88</c:v>
                </c:pt>
                <c:pt idx="1174">
                  <c:v>49.3</c:v>
                </c:pt>
                <c:pt idx="1175">
                  <c:v>49.26</c:v>
                </c:pt>
                <c:pt idx="1176">
                  <c:v>49.16</c:v>
                </c:pt>
                <c:pt idx="1177">
                  <c:v>49.23</c:v>
                </c:pt>
                <c:pt idx="1178">
                  <c:v>49.15</c:v>
                </c:pt>
                <c:pt idx="1179">
                  <c:v>49.18</c:v>
                </c:pt>
                <c:pt idx="1180">
                  <c:v>49.61</c:v>
                </c:pt>
                <c:pt idx="1181">
                  <c:v>50.11</c:v>
                </c:pt>
                <c:pt idx="1182">
                  <c:v>50.4</c:v>
                </c:pt>
                <c:pt idx="1183">
                  <c:v>50.83</c:v>
                </c:pt>
                <c:pt idx="1184">
                  <c:v>50.8</c:v>
                </c:pt>
                <c:pt idx="1185">
                  <c:v>50.84</c:v>
                </c:pt>
                <c:pt idx="1186">
                  <c:v>50.85</c:v>
                </c:pt>
                <c:pt idx="1187">
                  <c:v>49.43</c:v>
                </c:pt>
                <c:pt idx="1188">
                  <c:v>48.74</c:v>
                </c:pt>
                <c:pt idx="1189">
                  <c:v>48.76</c:v>
                </c:pt>
                <c:pt idx="1190">
                  <c:v>48.91</c:v>
                </c:pt>
                <c:pt idx="1191">
                  <c:v>48.08</c:v>
                </c:pt>
                <c:pt idx="1192">
                  <c:v>48.43</c:v>
                </c:pt>
                <c:pt idx="1193">
                  <c:v>48.15</c:v>
                </c:pt>
                <c:pt idx="1194">
                  <c:v>48.23</c:v>
                </c:pt>
                <c:pt idx="1195">
                  <c:v>48.44</c:v>
                </c:pt>
                <c:pt idx="1196">
                  <c:v>47.94</c:v>
                </c:pt>
                <c:pt idx="1197" formatCode="&quot;$&quot;#,##0_);[Red]\(&quot;$&quot;#,##0\)">
                  <c:v>49</c:v>
                </c:pt>
                <c:pt idx="1198">
                  <c:v>48.71</c:v>
                </c:pt>
                <c:pt idx="1199">
                  <c:v>48.61</c:v>
                </c:pt>
                <c:pt idx="1200">
                  <c:v>48.73</c:v>
                </c:pt>
                <c:pt idx="1201">
                  <c:v>48.48</c:v>
                </c:pt>
                <c:pt idx="1202">
                  <c:v>48.67</c:v>
                </c:pt>
                <c:pt idx="1203">
                  <c:v>48.91</c:v>
                </c:pt>
                <c:pt idx="1204">
                  <c:v>49.08</c:v>
                </c:pt>
                <c:pt idx="1205">
                  <c:v>49.27</c:v>
                </c:pt>
                <c:pt idx="1206">
                  <c:v>48.57</c:v>
                </c:pt>
                <c:pt idx="1207">
                  <c:v>48.77</c:v>
                </c:pt>
                <c:pt idx="1208">
                  <c:v>48.89</c:v>
                </c:pt>
                <c:pt idx="1209">
                  <c:v>48.21</c:v>
                </c:pt>
                <c:pt idx="1210">
                  <c:v>48.12</c:v>
                </c:pt>
                <c:pt idx="1211">
                  <c:v>47.64</c:v>
                </c:pt>
                <c:pt idx="1212">
                  <c:v>47.46</c:v>
                </c:pt>
                <c:pt idx="1213">
                  <c:v>47.17</c:v>
                </c:pt>
                <c:pt idx="1214">
                  <c:v>47.29</c:v>
                </c:pt>
                <c:pt idx="1215">
                  <c:v>46.72</c:v>
                </c:pt>
                <c:pt idx="1216">
                  <c:v>46.56</c:v>
                </c:pt>
                <c:pt idx="1217">
                  <c:v>46.36</c:v>
                </c:pt>
                <c:pt idx="1218">
                  <c:v>46.62</c:v>
                </c:pt>
                <c:pt idx="1219">
                  <c:v>46.5</c:v>
                </c:pt>
                <c:pt idx="1220">
                  <c:v>46.1</c:v>
                </c:pt>
                <c:pt idx="1221">
                  <c:v>45.66</c:v>
                </c:pt>
                <c:pt idx="1222" formatCode="&quot;$&quot;#,##0_);[Red]\(&quot;$&quot;#,##0\)">
                  <c:v>45</c:v>
                </c:pt>
                <c:pt idx="1223">
                  <c:v>44.71</c:v>
                </c:pt>
                <c:pt idx="1224">
                  <c:v>43.95</c:v>
                </c:pt>
                <c:pt idx="1225">
                  <c:v>43.53</c:v>
                </c:pt>
                <c:pt idx="1226">
                  <c:v>43.68</c:v>
                </c:pt>
                <c:pt idx="1227">
                  <c:v>43.73</c:v>
                </c:pt>
                <c:pt idx="1228">
                  <c:v>43.16</c:v>
                </c:pt>
                <c:pt idx="1229">
                  <c:v>42.98</c:v>
                </c:pt>
                <c:pt idx="1230">
                  <c:v>43.08</c:v>
                </c:pt>
                <c:pt idx="1231">
                  <c:v>43.69</c:v>
                </c:pt>
                <c:pt idx="1232">
                  <c:v>44.04</c:v>
                </c:pt>
                <c:pt idx="1233">
                  <c:v>43.96</c:v>
                </c:pt>
                <c:pt idx="1234">
                  <c:v>43.86</c:v>
                </c:pt>
                <c:pt idx="1235">
                  <c:v>44.5</c:v>
                </c:pt>
                <c:pt idx="1236">
                  <c:v>44.67</c:v>
                </c:pt>
                <c:pt idx="1237">
                  <c:v>44.68</c:v>
                </c:pt>
                <c:pt idx="1238">
                  <c:v>44.64</c:v>
                </c:pt>
                <c:pt idx="1239">
                  <c:v>44.59</c:v>
                </c:pt>
                <c:pt idx="1240">
                  <c:v>43.72</c:v>
                </c:pt>
                <c:pt idx="1241">
                  <c:v>43.6</c:v>
                </c:pt>
                <c:pt idx="1242">
                  <c:v>43.48</c:v>
                </c:pt>
                <c:pt idx="1243">
                  <c:v>43.64</c:v>
                </c:pt>
                <c:pt idx="1244">
                  <c:v>43.65</c:v>
                </c:pt>
                <c:pt idx="1245">
                  <c:v>43.8</c:v>
                </c:pt>
                <c:pt idx="1246">
                  <c:v>43.76</c:v>
                </c:pt>
                <c:pt idx="1247">
                  <c:v>44.13</c:v>
                </c:pt>
                <c:pt idx="1248">
                  <c:v>43.53</c:v>
                </c:pt>
                <c:pt idx="1249">
                  <c:v>43.98</c:v>
                </c:pt>
                <c:pt idx="1250">
                  <c:v>43.59</c:v>
                </c:pt>
                <c:pt idx="1251">
                  <c:v>43.43</c:v>
                </c:pt>
                <c:pt idx="1252">
                  <c:v>43.31</c:v>
                </c:pt>
                <c:pt idx="1253">
                  <c:v>42.67</c:v>
                </c:pt>
                <c:pt idx="1254">
                  <c:v>43.48</c:v>
                </c:pt>
                <c:pt idx="1255">
                  <c:v>43.58</c:v>
                </c:pt>
                <c:pt idx="1256">
                  <c:v>43.59</c:v>
                </c:pt>
                <c:pt idx="1257">
                  <c:v>43.83</c:v>
                </c:pt>
                <c:pt idx="1258">
                  <c:v>43.67</c:v>
                </c:pt>
                <c:pt idx="1259">
                  <c:v>4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67-4127-B36F-0C218379E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2675440"/>
        <c:axId val="639655584"/>
      </c:lineChart>
      <c:dateAx>
        <c:axId val="642675440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0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9655584"/>
        <c:crosses val="autoZero"/>
        <c:auto val="1"/>
        <c:lblOffset val="100"/>
        <c:baseTimeUnit val="days"/>
        <c:majorUnit val="4"/>
        <c:majorTimeUnit val="months"/>
      </c:dateAx>
      <c:valAx>
        <c:axId val="639655584"/>
        <c:scaling>
          <c:orientation val="minMax"/>
        </c:scaling>
        <c:delete val="0"/>
        <c:axPos val="l"/>
        <c:numFmt formatCode="&quot;$&quot;#,##0.00_);[Red]\(&quot;$&quot;#,##0.00\)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2675440"/>
        <c:crosses val="autoZero"/>
        <c:crossBetween val="between"/>
      </c:valAx>
      <c:valAx>
        <c:axId val="1189960480"/>
        <c:scaling>
          <c:orientation val="minMax"/>
          <c:max val="40"/>
        </c:scaling>
        <c:delete val="0"/>
        <c:axPos val="r"/>
        <c:numFmt formatCode="#,##0.0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9957568"/>
        <c:crosses val="max"/>
        <c:crossBetween val="between"/>
      </c:valAx>
      <c:catAx>
        <c:axId val="1189957568"/>
        <c:scaling>
          <c:orientation val="minMax"/>
        </c:scaling>
        <c:delete val="1"/>
        <c:axPos val="b"/>
        <c:majorTickMark val="out"/>
        <c:minorTickMark val="none"/>
        <c:tickLblPos val="nextTo"/>
        <c:crossAx val="11899604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DE9D47-63A3-4CFB-AEF6-2F45690483C1}" type="doc">
      <dgm:prSet loTypeId="urn:microsoft.com/office/officeart/2005/8/layout/default" loCatId="list" qsTypeId="urn:microsoft.com/office/officeart/2005/8/quickstyle/simple3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8DD24DF8-A4A7-49F5-9145-815359D59510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Glucose monitoring</a:t>
          </a:r>
        </a:p>
      </dgm:t>
    </dgm:pt>
    <dgm:pt modelId="{893F1E37-B8AA-400F-B480-686B84D94C3F}" type="parTrans" cxnId="{81C3C8DC-ABDA-44CE-85C4-842137863F0D}">
      <dgm:prSet/>
      <dgm:spPr/>
      <dgm:t>
        <a:bodyPr/>
        <a:lstStyle/>
        <a:p>
          <a:pPr algn="ctr"/>
          <a:endParaRPr lang="en-US"/>
        </a:p>
      </dgm:t>
    </dgm:pt>
    <dgm:pt modelId="{19EBA91E-A25E-4BF1-BEC9-74CEE5981F9A}" type="sibTrans" cxnId="{81C3C8DC-ABDA-44CE-85C4-842137863F0D}">
      <dgm:prSet/>
      <dgm:spPr/>
      <dgm:t>
        <a:bodyPr/>
        <a:lstStyle/>
        <a:p>
          <a:pPr algn="ctr"/>
          <a:endParaRPr lang="en-US"/>
        </a:p>
      </dgm:t>
    </dgm:pt>
    <dgm:pt modelId="{878B004D-1FCD-430E-82B2-38ECAF64D067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Blood and plasma screening </a:t>
          </a:r>
        </a:p>
      </dgm:t>
    </dgm:pt>
    <dgm:pt modelId="{31851BA7-3B00-427C-95D3-C14005589FFB}" type="parTrans" cxnId="{DC16CC37-27D2-482B-9AB4-4BF376611AAE}">
      <dgm:prSet/>
      <dgm:spPr/>
      <dgm:t>
        <a:bodyPr/>
        <a:lstStyle/>
        <a:p>
          <a:pPr algn="ctr"/>
          <a:endParaRPr lang="en-US"/>
        </a:p>
      </dgm:t>
    </dgm:pt>
    <dgm:pt modelId="{5AE10AC9-8C82-46A9-8670-2715760B0EE2}" type="sibTrans" cxnId="{DC16CC37-27D2-482B-9AB4-4BF376611AAE}">
      <dgm:prSet/>
      <dgm:spPr/>
      <dgm:t>
        <a:bodyPr/>
        <a:lstStyle/>
        <a:p>
          <a:pPr algn="ctr"/>
          <a:endParaRPr lang="en-US"/>
        </a:p>
      </dgm:t>
    </dgm:pt>
    <dgm:pt modelId="{34016CB7-76A0-4160-98DA-B0C3BF2654F5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Adult nutrition </a:t>
          </a:r>
        </a:p>
      </dgm:t>
    </dgm:pt>
    <dgm:pt modelId="{E56132CD-714B-47CF-8EE8-A69098DC5679}" type="parTrans" cxnId="{401C2205-2D8F-423F-9862-0916D1937A35}">
      <dgm:prSet/>
      <dgm:spPr/>
      <dgm:t>
        <a:bodyPr/>
        <a:lstStyle/>
        <a:p>
          <a:pPr algn="ctr"/>
          <a:endParaRPr lang="en-US"/>
        </a:p>
      </dgm:t>
    </dgm:pt>
    <dgm:pt modelId="{0348EB71-400C-4AB9-B7FA-319581CC04D1}" type="sibTrans" cxnId="{401C2205-2D8F-423F-9862-0916D1937A35}">
      <dgm:prSet/>
      <dgm:spPr/>
      <dgm:t>
        <a:bodyPr/>
        <a:lstStyle/>
        <a:p>
          <a:pPr algn="ctr"/>
          <a:endParaRPr lang="en-US"/>
        </a:p>
      </dgm:t>
    </dgm:pt>
    <dgm:pt modelId="{944FD221-3D6B-4EBA-B37F-11665A9CD725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Pediatric nutrition</a:t>
          </a:r>
        </a:p>
      </dgm:t>
    </dgm:pt>
    <dgm:pt modelId="{70309E3C-CE32-44EF-B1CF-483B552D60E5}" type="parTrans" cxnId="{D5B793AB-B40C-4F6F-8EAB-F3B583AFB62D}">
      <dgm:prSet/>
      <dgm:spPr/>
      <dgm:t>
        <a:bodyPr/>
        <a:lstStyle/>
        <a:p>
          <a:pPr algn="ctr"/>
          <a:endParaRPr lang="en-US"/>
        </a:p>
      </dgm:t>
    </dgm:pt>
    <dgm:pt modelId="{7EF8B258-AE83-4031-94C3-7D8691804F3B}" type="sibTrans" cxnId="{D5B793AB-B40C-4F6F-8EAB-F3B583AFB62D}">
      <dgm:prSet/>
      <dgm:spPr/>
      <dgm:t>
        <a:bodyPr/>
        <a:lstStyle/>
        <a:p>
          <a:pPr algn="ctr"/>
          <a:endParaRPr lang="en-US"/>
        </a:p>
      </dgm:t>
    </dgm:pt>
    <dgm:pt modelId="{501ED7D1-3E68-44F9-8FB6-9101D2F11F7E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Heart pump (LVADs)</a:t>
          </a:r>
        </a:p>
      </dgm:t>
    </dgm:pt>
    <dgm:pt modelId="{EE2851EF-76CF-43A9-93A6-FF45D39AE707}" type="parTrans" cxnId="{1EE1C9F7-BC5B-4433-805E-3B0331A1C9C6}">
      <dgm:prSet/>
      <dgm:spPr/>
      <dgm:t>
        <a:bodyPr/>
        <a:lstStyle/>
        <a:p>
          <a:pPr algn="ctr"/>
          <a:endParaRPr lang="en-US"/>
        </a:p>
      </dgm:t>
    </dgm:pt>
    <dgm:pt modelId="{BDD9A9E7-14FD-43B5-9C11-50E7D2DB53AC}" type="sibTrans" cxnId="{1EE1C9F7-BC5B-4433-805E-3B0331A1C9C6}">
      <dgm:prSet/>
      <dgm:spPr/>
      <dgm:t>
        <a:bodyPr/>
        <a:lstStyle/>
        <a:p>
          <a:pPr algn="ctr"/>
          <a:endParaRPr lang="en-US"/>
        </a:p>
      </dgm:t>
    </dgm:pt>
    <dgm:pt modelId="{E867A625-2D81-46EE-B4EF-CEF89276EBC8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Remote heart failure monitoring </a:t>
          </a:r>
        </a:p>
      </dgm:t>
    </dgm:pt>
    <dgm:pt modelId="{EC7DDA5D-D6CB-4A50-BB1C-FBA9E9D29AF5}" type="parTrans" cxnId="{13C1F875-08CB-4932-A32C-780AD153DD78}">
      <dgm:prSet/>
      <dgm:spPr/>
      <dgm:t>
        <a:bodyPr/>
        <a:lstStyle/>
        <a:p>
          <a:pPr algn="ctr"/>
          <a:endParaRPr lang="en-US"/>
        </a:p>
      </dgm:t>
    </dgm:pt>
    <dgm:pt modelId="{C677F471-0530-4D05-86FA-C1CD6EF5BB10}" type="sibTrans" cxnId="{13C1F875-08CB-4932-A32C-780AD153DD78}">
      <dgm:prSet/>
      <dgm:spPr/>
      <dgm:t>
        <a:bodyPr/>
        <a:lstStyle/>
        <a:p>
          <a:pPr algn="ctr"/>
          <a:endParaRPr lang="en-US"/>
        </a:p>
      </dgm:t>
    </dgm:pt>
    <dgm:pt modelId="{4A40B1BF-3360-4861-8DC4-58B5FAC3CD3C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Point of care testing</a:t>
          </a:r>
        </a:p>
      </dgm:t>
    </dgm:pt>
    <dgm:pt modelId="{C130EA1A-491A-4F10-8185-2D024796C9E3}" type="parTrans" cxnId="{8402F74B-09BF-45F7-A02D-21B402629682}">
      <dgm:prSet/>
      <dgm:spPr/>
      <dgm:t>
        <a:bodyPr/>
        <a:lstStyle/>
        <a:p>
          <a:pPr algn="ctr"/>
          <a:endParaRPr lang="en-US"/>
        </a:p>
      </dgm:t>
    </dgm:pt>
    <dgm:pt modelId="{9C0B0684-A770-4DCE-99E3-BB0CD21686F3}" type="sibTrans" cxnId="{8402F74B-09BF-45F7-A02D-21B402629682}">
      <dgm:prSet/>
      <dgm:spPr/>
      <dgm:t>
        <a:bodyPr/>
        <a:lstStyle/>
        <a:p>
          <a:pPr algn="ctr"/>
          <a:endParaRPr lang="en-US"/>
        </a:p>
      </dgm:t>
    </dgm:pt>
    <dgm:pt modelId="{CCEA3448-D39C-45EA-865B-A1FBC9E5DA9C}">
      <dgm:prSet custT="1"/>
      <dgm:spPr>
        <a:solidFill>
          <a:srgbClr val="82B3DB"/>
        </a:solidFill>
      </dgm:spPr>
      <dgm:t>
        <a:bodyPr/>
        <a:lstStyle/>
        <a:p>
          <a:pPr algn="ctr"/>
          <a:r>
            <a:rPr lang="en-US" sz="900">
              <a:solidFill>
                <a:schemeClr val="bg1"/>
              </a:solidFill>
            </a:rPr>
            <a:t>Chronic pain devices </a:t>
          </a:r>
        </a:p>
      </dgm:t>
    </dgm:pt>
    <dgm:pt modelId="{32DD355C-1243-475C-B0C2-E06B6868CA22}" type="parTrans" cxnId="{DEDC2AB5-274B-4052-BE8E-BE7C9B2C5FF8}">
      <dgm:prSet/>
      <dgm:spPr/>
      <dgm:t>
        <a:bodyPr/>
        <a:lstStyle/>
        <a:p>
          <a:pPr algn="ctr"/>
          <a:endParaRPr lang="en-US"/>
        </a:p>
      </dgm:t>
    </dgm:pt>
    <dgm:pt modelId="{7B275218-0D91-4BDE-9FBE-2E7D18C77588}" type="sibTrans" cxnId="{DEDC2AB5-274B-4052-BE8E-BE7C9B2C5FF8}">
      <dgm:prSet/>
      <dgm:spPr/>
      <dgm:t>
        <a:bodyPr/>
        <a:lstStyle/>
        <a:p>
          <a:pPr algn="ctr"/>
          <a:endParaRPr lang="en-US"/>
        </a:p>
      </dgm:t>
    </dgm:pt>
    <dgm:pt modelId="{66910C25-9C1A-41C8-8BE0-45C2C9EC73D3}" type="pres">
      <dgm:prSet presAssocID="{71DE9D47-63A3-4CFB-AEF6-2F45690483C1}" presName="diagram" presStyleCnt="0">
        <dgm:presLayoutVars>
          <dgm:dir/>
          <dgm:resizeHandles val="exact"/>
        </dgm:presLayoutVars>
      </dgm:prSet>
      <dgm:spPr/>
    </dgm:pt>
    <dgm:pt modelId="{68D2C493-ABE0-4D4F-A3EB-85F39DC1E830}" type="pres">
      <dgm:prSet presAssocID="{8DD24DF8-A4A7-49F5-9145-815359D59510}" presName="node" presStyleLbl="node1" presStyleIdx="0" presStyleCnt="8">
        <dgm:presLayoutVars>
          <dgm:bulletEnabled val="1"/>
        </dgm:presLayoutVars>
      </dgm:prSet>
      <dgm:spPr/>
    </dgm:pt>
    <dgm:pt modelId="{F4159544-7575-4707-9B9F-F8C31CD80B5F}" type="pres">
      <dgm:prSet presAssocID="{19EBA91E-A25E-4BF1-BEC9-74CEE5981F9A}" presName="sibTrans" presStyleCnt="0"/>
      <dgm:spPr/>
    </dgm:pt>
    <dgm:pt modelId="{18902382-355D-4A86-9253-A267D9259F25}" type="pres">
      <dgm:prSet presAssocID="{878B004D-1FCD-430E-82B2-38ECAF64D067}" presName="node" presStyleLbl="node1" presStyleIdx="1" presStyleCnt="8">
        <dgm:presLayoutVars>
          <dgm:bulletEnabled val="1"/>
        </dgm:presLayoutVars>
      </dgm:prSet>
      <dgm:spPr/>
    </dgm:pt>
    <dgm:pt modelId="{D8E59A0A-7E86-4681-8656-4B639B749FCF}" type="pres">
      <dgm:prSet presAssocID="{5AE10AC9-8C82-46A9-8670-2715760B0EE2}" presName="sibTrans" presStyleCnt="0"/>
      <dgm:spPr/>
    </dgm:pt>
    <dgm:pt modelId="{5E3273AB-528C-4A28-AE2A-CB7A295E5500}" type="pres">
      <dgm:prSet presAssocID="{34016CB7-76A0-4160-98DA-B0C3BF2654F5}" presName="node" presStyleLbl="node1" presStyleIdx="2" presStyleCnt="8">
        <dgm:presLayoutVars>
          <dgm:bulletEnabled val="1"/>
        </dgm:presLayoutVars>
      </dgm:prSet>
      <dgm:spPr/>
    </dgm:pt>
    <dgm:pt modelId="{8F0A88DB-14DC-4E24-98F2-585A7A60A912}" type="pres">
      <dgm:prSet presAssocID="{0348EB71-400C-4AB9-B7FA-319581CC04D1}" presName="sibTrans" presStyleCnt="0"/>
      <dgm:spPr/>
    </dgm:pt>
    <dgm:pt modelId="{1F75E5FC-C5FF-40CC-9F50-8E0F058192F0}" type="pres">
      <dgm:prSet presAssocID="{944FD221-3D6B-4EBA-B37F-11665A9CD725}" presName="node" presStyleLbl="node1" presStyleIdx="3" presStyleCnt="8">
        <dgm:presLayoutVars>
          <dgm:bulletEnabled val="1"/>
        </dgm:presLayoutVars>
      </dgm:prSet>
      <dgm:spPr/>
    </dgm:pt>
    <dgm:pt modelId="{48623865-9BC3-4CFC-B984-9A2E91032F22}" type="pres">
      <dgm:prSet presAssocID="{7EF8B258-AE83-4031-94C3-7D8691804F3B}" presName="sibTrans" presStyleCnt="0"/>
      <dgm:spPr/>
    </dgm:pt>
    <dgm:pt modelId="{87BA60EC-5B67-4615-B066-3669F518D3F3}" type="pres">
      <dgm:prSet presAssocID="{501ED7D1-3E68-44F9-8FB6-9101D2F11F7E}" presName="node" presStyleLbl="node1" presStyleIdx="4" presStyleCnt="8">
        <dgm:presLayoutVars>
          <dgm:bulletEnabled val="1"/>
        </dgm:presLayoutVars>
      </dgm:prSet>
      <dgm:spPr/>
    </dgm:pt>
    <dgm:pt modelId="{A5DEC62C-653D-4E10-9BB9-2E8F0C1C1C89}" type="pres">
      <dgm:prSet presAssocID="{BDD9A9E7-14FD-43B5-9C11-50E7D2DB53AC}" presName="sibTrans" presStyleCnt="0"/>
      <dgm:spPr/>
    </dgm:pt>
    <dgm:pt modelId="{13B67D63-5D43-4AA3-B18E-3F9C8AD4E681}" type="pres">
      <dgm:prSet presAssocID="{E867A625-2D81-46EE-B4EF-CEF89276EBC8}" presName="node" presStyleLbl="node1" presStyleIdx="5" presStyleCnt="8">
        <dgm:presLayoutVars>
          <dgm:bulletEnabled val="1"/>
        </dgm:presLayoutVars>
      </dgm:prSet>
      <dgm:spPr/>
    </dgm:pt>
    <dgm:pt modelId="{B1D00A5D-488A-4095-B910-44CCD0DA073E}" type="pres">
      <dgm:prSet presAssocID="{C677F471-0530-4D05-86FA-C1CD6EF5BB10}" presName="sibTrans" presStyleCnt="0"/>
      <dgm:spPr/>
    </dgm:pt>
    <dgm:pt modelId="{3526ADDE-929C-4D42-B3E1-114585927181}" type="pres">
      <dgm:prSet presAssocID="{4A40B1BF-3360-4861-8DC4-58B5FAC3CD3C}" presName="node" presStyleLbl="node1" presStyleIdx="6" presStyleCnt="8">
        <dgm:presLayoutVars>
          <dgm:bulletEnabled val="1"/>
        </dgm:presLayoutVars>
      </dgm:prSet>
      <dgm:spPr/>
    </dgm:pt>
    <dgm:pt modelId="{851009C3-C877-4E5C-87D8-2275A82AA7CD}" type="pres">
      <dgm:prSet presAssocID="{9C0B0684-A770-4DCE-99E3-BB0CD21686F3}" presName="sibTrans" presStyleCnt="0"/>
      <dgm:spPr/>
    </dgm:pt>
    <dgm:pt modelId="{F854034A-7D47-46DC-86DF-69C4970108EC}" type="pres">
      <dgm:prSet presAssocID="{CCEA3448-D39C-45EA-865B-A1FBC9E5DA9C}" presName="node" presStyleLbl="node1" presStyleIdx="7" presStyleCnt="8">
        <dgm:presLayoutVars>
          <dgm:bulletEnabled val="1"/>
        </dgm:presLayoutVars>
      </dgm:prSet>
      <dgm:spPr/>
    </dgm:pt>
  </dgm:ptLst>
  <dgm:cxnLst>
    <dgm:cxn modelId="{410CAF00-4098-41D0-A5C0-FB88D6F6EA44}" type="presOf" srcId="{4A40B1BF-3360-4861-8DC4-58B5FAC3CD3C}" destId="{3526ADDE-929C-4D42-B3E1-114585927181}" srcOrd="0" destOrd="0" presId="urn:microsoft.com/office/officeart/2005/8/layout/default"/>
    <dgm:cxn modelId="{401C2205-2D8F-423F-9862-0916D1937A35}" srcId="{71DE9D47-63A3-4CFB-AEF6-2F45690483C1}" destId="{34016CB7-76A0-4160-98DA-B0C3BF2654F5}" srcOrd="2" destOrd="0" parTransId="{E56132CD-714B-47CF-8EE8-A69098DC5679}" sibTransId="{0348EB71-400C-4AB9-B7FA-319581CC04D1}"/>
    <dgm:cxn modelId="{C3B67512-3887-4381-929E-BDD2A2A6F581}" type="presOf" srcId="{E867A625-2D81-46EE-B4EF-CEF89276EBC8}" destId="{13B67D63-5D43-4AA3-B18E-3F9C8AD4E681}" srcOrd="0" destOrd="0" presId="urn:microsoft.com/office/officeart/2005/8/layout/default"/>
    <dgm:cxn modelId="{DC16CC37-27D2-482B-9AB4-4BF376611AAE}" srcId="{71DE9D47-63A3-4CFB-AEF6-2F45690483C1}" destId="{878B004D-1FCD-430E-82B2-38ECAF64D067}" srcOrd="1" destOrd="0" parTransId="{31851BA7-3B00-427C-95D3-C14005589FFB}" sibTransId="{5AE10AC9-8C82-46A9-8670-2715760B0EE2}"/>
    <dgm:cxn modelId="{04409339-CE37-40E9-A129-7B89E4EAABD8}" type="presOf" srcId="{34016CB7-76A0-4160-98DA-B0C3BF2654F5}" destId="{5E3273AB-528C-4A28-AE2A-CB7A295E5500}" srcOrd="0" destOrd="0" presId="urn:microsoft.com/office/officeart/2005/8/layout/default"/>
    <dgm:cxn modelId="{8402F74B-09BF-45F7-A02D-21B402629682}" srcId="{71DE9D47-63A3-4CFB-AEF6-2F45690483C1}" destId="{4A40B1BF-3360-4861-8DC4-58B5FAC3CD3C}" srcOrd="6" destOrd="0" parTransId="{C130EA1A-491A-4F10-8185-2D024796C9E3}" sibTransId="{9C0B0684-A770-4DCE-99E3-BB0CD21686F3}"/>
    <dgm:cxn modelId="{2850DA72-6FC5-45E5-9550-E4C5F6246935}" type="presOf" srcId="{CCEA3448-D39C-45EA-865B-A1FBC9E5DA9C}" destId="{F854034A-7D47-46DC-86DF-69C4970108EC}" srcOrd="0" destOrd="0" presId="urn:microsoft.com/office/officeart/2005/8/layout/default"/>
    <dgm:cxn modelId="{13C1F875-08CB-4932-A32C-780AD153DD78}" srcId="{71DE9D47-63A3-4CFB-AEF6-2F45690483C1}" destId="{E867A625-2D81-46EE-B4EF-CEF89276EBC8}" srcOrd="5" destOrd="0" parTransId="{EC7DDA5D-D6CB-4A50-BB1C-FBA9E9D29AF5}" sibTransId="{C677F471-0530-4D05-86FA-C1CD6EF5BB10}"/>
    <dgm:cxn modelId="{5076137F-D308-4593-A461-4B4E2BF20E2F}" type="presOf" srcId="{878B004D-1FCD-430E-82B2-38ECAF64D067}" destId="{18902382-355D-4A86-9253-A267D9259F25}" srcOrd="0" destOrd="0" presId="urn:microsoft.com/office/officeart/2005/8/layout/default"/>
    <dgm:cxn modelId="{6ACF359A-8012-4757-BBDA-6AA268E4574A}" type="presOf" srcId="{71DE9D47-63A3-4CFB-AEF6-2F45690483C1}" destId="{66910C25-9C1A-41C8-8BE0-45C2C9EC73D3}" srcOrd="0" destOrd="0" presId="urn:microsoft.com/office/officeart/2005/8/layout/default"/>
    <dgm:cxn modelId="{64663FA7-873E-4108-BB4A-B0D5318F1F9B}" type="presOf" srcId="{944FD221-3D6B-4EBA-B37F-11665A9CD725}" destId="{1F75E5FC-C5FF-40CC-9F50-8E0F058192F0}" srcOrd="0" destOrd="0" presId="urn:microsoft.com/office/officeart/2005/8/layout/default"/>
    <dgm:cxn modelId="{D5B793AB-B40C-4F6F-8EAB-F3B583AFB62D}" srcId="{71DE9D47-63A3-4CFB-AEF6-2F45690483C1}" destId="{944FD221-3D6B-4EBA-B37F-11665A9CD725}" srcOrd="3" destOrd="0" parTransId="{70309E3C-CE32-44EF-B1CF-483B552D60E5}" sibTransId="{7EF8B258-AE83-4031-94C3-7D8691804F3B}"/>
    <dgm:cxn modelId="{DEDC2AB5-274B-4052-BE8E-BE7C9B2C5FF8}" srcId="{71DE9D47-63A3-4CFB-AEF6-2F45690483C1}" destId="{CCEA3448-D39C-45EA-865B-A1FBC9E5DA9C}" srcOrd="7" destOrd="0" parTransId="{32DD355C-1243-475C-B0C2-E06B6868CA22}" sibTransId="{7B275218-0D91-4BDE-9FBE-2E7D18C77588}"/>
    <dgm:cxn modelId="{13C8C7BB-987A-405F-A797-4E1D35A87A83}" type="presOf" srcId="{501ED7D1-3E68-44F9-8FB6-9101D2F11F7E}" destId="{87BA60EC-5B67-4615-B066-3669F518D3F3}" srcOrd="0" destOrd="0" presId="urn:microsoft.com/office/officeart/2005/8/layout/default"/>
    <dgm:cxn modelId="{00869CD9-DE30-4885-B973-7CA8157C173F}" type="presOf" srcId="{8DD24DF8-A4A7-49F5-9145-815359D59510}" destId="{68D2C493-ABE0-4D4F-A3EB-85F39DC1E830}" srcOrd="0" destOrd="0" presId="urn:microsoft.com/office/officeart/2005/8/layout/default"/>
    <dgm:cxn modelId="{81C3C8DC-ABDA-44CE-85C4-842137863F0D}" srcId="{71DE9D47-63A3-4CFB-AEF6-2F45690483C1}" destId="{8DD24DF8-A4A7-49F5-9145-815359D59510}" srcOrd="0" destOrd="0" parTransId="{893F1E37-B8AA-400F-B480-686B84D94C3F}" sibTransId="{19EBA91E-A25E-4BF1-BEC9-74CEE5981F9A}"/>
    <dgm:cxn modelId="{1EE1C9F7-BC5B-4433-805E-3B0331A1C9C6}" srcId="{71DE9D47-63A3-4CFB-AEF6-2F45690483C1}" destId="{501ED7D1-3E68-44F9-8FB6-9101D2F11F7E}" srcOrd="4" destOrd="0" parTransId="{EE2851EF-76CF-43A9-93A6-FF45D39AE707}" sibTransId="{BDD9A9E7-14FD-43B5-9C11-50E7D2DB53AC}"/>
    <dgm:cxn modelId="{73D87490-702A-49F8-AAB1-16BABC195178}" type="presParOf" srcId="{66910C25-9C1A-41C8-8BE0-45C2C9EC73D3}" destId="{68D2C493-ABE0-4D4F-A3EB-85F39DC1E830}" srcOrd="0" destOrd="0" presId="urn:microsoft.com/office/officeart/2005/8/layout/default"/>
    <dgm:cxn modelId="{71CB914A-28E2-426D-A04A-2F671E5CEA2D}" type="presParOf" srcId="{66910C25-9C1A-41C8-8BE0-45C2C9EC73D3}" destId="{F4159544-7575-4707-9B9F-F8C31CD80B5F}" srcOrd="1" destOrd="0" presId="urn:microsoft.com/office/officeart/2005/8/layout/default"/>
    <dgm:cxn modelId="{C6236FB7-2F49-48D8-B38E-CFB7B4B62D27}" type="presParOf" srcId="{66910C25-9C1A-41C8-8BE0-45C2C9EC73D3}" destId="{18902382-355D-4A86-9253-A267D9259F25}" srcOrd="2" destOrd="0" presId="urn:microsoft.com/office/officeart/2005/8/layout/default"/>
    <dgm:cxn modelId="{0A7D2F44-58FF-442D-8691-DA3AF0C60B83}" type="presParOf" srcId="{66910C25-9C1A-41C8-8BE0-45C2C9EC73D3}" destId="{D8E59A0A-7E86-4681-8656-4B639B749FCF}" srcOrd="3" destOrd="0" presId="urn:microsoft.com/office/officeart/2005/8/layout/default"/>
    <dgm:cxn modelId="{834C6079-66CA-4B2D-AF37-5590E12BE3A8}" type="presParOf" srcId="{66910C25-9C1A-41C8-8BE0-45C2C9EC73D3}" destId="{5E3273AB-528C-4A28-AE2A-CB7A295E5500}" srcOrd="4" destOrd="0" presId="urn:microsoft.com/office/officeart/2005/8/layout/default"/>
    <dgm:cxn modelId="{10ABF1F9-3D68-408C-B318-A68F4D2352A5}" type="presParOf" srcId="{66910C25-9C1A-41C8-8BE0-45C2C9EC73D3}" destId="{8F0A88DB-14DC-4E24-98F2-585A7A60A912}" srcOrd="5" destOrd="0" presId="urn:microsoft.com/office/officeart/2005/8/layout/default"/>
    <dgm:cxn modelId="{7ED3F896-012B-4900-9CAC-A3CD3F0F2E1D}" type="presParOf" srcId="{66910C25-9C1A-41C8-8BE0-45C2C9EC73D3}" destId="{1F75E5FC-C5FF-40CC-9F50-8E0F058192F0}" srcOrd="6" destOrd="0" presId="urn:microsoft.com/office/officeart/2005/8/layout/default"/>
    <dgm:cxn modelId="{563A2D99-5C63-45D5-BA86-910A017A8B23}" type="presParOf" srcId="{66910C25-9C1A-41C8-8BE0-45C2C9EC73D3}" destId="{48623865-9BC3-4CFC-B984-9A2E91032F22}" srcOrd="7" destOrd="0" presId="urn:microsoft.com/office/officeart/2005/8/layout/default"/>
    <dgm:cxn modelId="{F9AE082D-72E7-46FB-8E96-52117F8FAA83}" type="presParOf" srcId="{66910C25-9C1A-41C8-8BE0-45C2C9EC73D3}" destId="{87BA60EC-5B67-4615-B066-3669F518D3F3}" srcOrd="8" destOrd="0" presId="urn:microsoft.com/office/officeart/2005/8/layout/default"/>
    <dgm:cxn modelId="{A41A37E4-242F-4C1E-A59C-BDD5C59C6F4E}" type="presParOf" srcId="{66910C25-9C1A-41C8-8BE0-45C2C9EC73D3}" destId="{A5DEC62C-653D-4E10-9BB9-2E8F0C1C1C89}" srcOrd="9" destOrd="0" presId="urn:microsoft.com/office/officeart/2005/8/layout/default"/>
    <dgm:cxn modelId="{5F7C3598-1160-4E18-B57E-B401FD7601F4}" type="presParOf" srcId="{66910C25-9C1A-41C8-8BE0-45C2C9EC73D3}" destId="{13B67D63-5D43-4AA3-B18E-3F9C8AD4E681}" srcOrd="10" destOrd="0" presId="urn:microsoft.com/office/officeart/2005/8/layout/default"/>
    <dgm:cxn modelId="{94749C04-906E-4ED3-A9DF-02011FB3B71F}" type="presParOf" srcId="{66910C25-9C1A-41C8-8BE0-45C2C9EC73D3}" destId="{B1D00A5D-488A-4095-B910-44CCD0DA073E}" srcOrd="11" destOrd="0" presId="urn:microsoft.com/office/officeart/2005/8/layout/default"/>
    <dgm:cxn modelId="{CD4E8DF4-43B2-47B9-870A-459E54745C36}" type="presParOf" srcId="{66910C25-9C1A-41C8-8BE0-45C2C9EC73D3}" destId="{3526ADDE-929C-4D42-B3E1-114585927181}" srcOrd="12" destOrd="0" presId="urn:microsoft.com/office/officeart/2005/8/layout/default"/>
    <dgm:cxn modelId="{3BBB8A86-5149-48F9-8C49-D4FE94EE8E5E}" type="presParOf" srcId="{66910C25-9C1A-41C8-8BE0-45C2C9EC73D3}" destId="{851009C3-C877-4E5C-87D8-2275A82AA7CD}" srcOrd="13" destOrd="0" presId="urn:microsoft.com/office/officeart/2005/8/layout/default"/>
    <dgm:cxn modelId="{6AB7BBCF-D6E0-4771-AE06-9CA0AB183F7C}" type="presParOf" srcId="{66910C25-9C1A-41C8-8BE0-45C2C9EC73D3}" destId="{F854034A-7D47-46DC-86DF-69C4970108EC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D2C493-ABE0-4D4F-A3EB-85F39DC1E830}">
      <dsp:nvSpPr>
        <dsp:cNvPr id="0" name=""/>
        <dsp:cNvSpPr/>
      </dsp:nvSpPr>
      <dsp:spPr>
        <a:xfrm>
          <a:off x="1128" y="10379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Glucose monitoring</a:t>
          </a:r>
        </a:p>
      </dsp:txBody>
      <dsp:txXfrm>
        <a:off x="1128" y="10379"/>
        <a:ext cx="895177" cy="537106"/>
      </dsp:txXfrm>
    </dsp:sp>
    <dsp:sp modelId="{18902382-355D-4A86-9253-A267D9259F25}">
      <dsp:nvSpPr>
        <dsp:cNvPr id="0" name=""/>
        <dsp:cNvSpPr/>
      </dsp:nvSpPr>
      <dsp:spPr>
        <a:xfrm>
          <a:off x="985823" y="10379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Blood and plasma screening </a:t>
          </a:r>
        </a:p>
      </dsp:txBody>
      <dsp:txXfrm>
        <a:off x="985823" y="10379"/>
        <a:ext cx="895177" cy="537106"/>
      </dsp:txXfrm>
    </dsp:sp>
    <dsp:sp modelId="{5E3273AB-528C-4A28-AE2A-CB7A295E5500}">
      <dsp:nvSpPr>
        <dsp:cNvPr id="0" name=""/>
        <dsp:cNvSpPr/>
      </dsp:nvSpPr>
      <dsp:spPr>
        <a:xfrm>
          <a:off x="1970519" y="10379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Adult nutrition </a:t>
          </a:r>
        </a:p>
      </dsp:txBody>
      <dsp:txXfrm>
        <a:off x="1970519" y="10379"/>
        <a:ext cx="895177" cy="537106"/>
      </dsp:txXfrm>
    </dsp:sp>
    <dsp:sp modelId="{1F75E5FC-C5FF-40CC-9F50-8E0F058192F0}">
      <dsp:nvSpPr>
        <dsp:cNvPr id="0" name=""/>
        <dsp:cNvSpPr/>
      </dsp:nvSpPr>
      <dsp:spPr>
        <a:xfrm>
          <a:off x="2955214" y="10379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Pediatric nutrition</a:t>
          </a:r>
        </a:p>
      </dsp:txBody>
      <dsp:txXfrm>
        <a:off x="2955214" y="10379"/>
        <a:ext cx="895177" cy="537106"/>
      </dsp:txXfrm>
    </dsp:sp>
    <dsp:sp modelId="{87BA60EC-5B67-4615-B066-3669F518D3F3}">
      <dsp:nvSpPr>
        <dsp:cNvPr id="0" name=""/>
        <dsp:cNvSpPr/>
      </dsp:nvSpPr>
      <dsp:spPr>
        <a:xfrm>
          <a:off x="1128" y="637003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Heart pump (LVADs)</a:t>
          </a:r>
        </a:p>
      </dsp:txBody>
      <dsp:txXfrm>
        <a:off x="1128" y="637003"/>
        <a:ext cx="895177" cy="537106"/>
      </dsp:txXfrm>
    </dsp:sp>
    <dsp:sp modelId="{13B67D63-5D43-4AA3-B18E-3F9C8AD4E681}">
      <dsp:nvSpPr>
        <dsp:cNvPr id="0" name=""/>
        <dsp:cNvSpPr/>
      </dsp:nvSpPr>
      <dsp:spPr>
        <a:xfrm>
          <a:off x="985823" y="637003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Remote heart failure monitoring </a:t>
          </a:r>
        </a:p>
      </dsp:txBody>
      <dsp:txXfrm>
        <a:off x="985823" y="637003"/>
        <a:ext cx="895177" cy="537106"/>
      </dsp:txXfrm>
    </dsp:sp>
    <dsp:sp modelId="{3526ADDE-929C-4D42-B3E1-114585927181}">
      <dsp:nvSpPr>
        <dsp:cNvPr id="0" name=""/>
        <dsp:cNvSpPr/>
      </dsp:nvSpPr>
      <dsp:spPr>
        <a:xfrm>
          <a:off x="1970519" y="637003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Point of care testing</a:t>
          </a:r>
        </a:p>
      </dsp:txBody>
      <dsp:txXfrm>
        <a:off x="1970519" y="637003"/>
        <a:ext cx="895177" cy="537106"/>
      </dsp:txXfrm>
    </dsp:sp>
    <dsp:sp modelId="{F854034A-7D47-46DC-86DF-69C4970108EC}">
      <dsp:nvSpPr>
        <dsp:cNvPr id="0" name=""/>
        <dsp:cNvSpPr/>
      </dsp:nvSpPr>
      <dsp:spPr>
        <a:xfrm>
          <a:off x="2955214" y="637003"/>
          <a:ext cx="895177" cy="537106"/>
        </a:xfrm>
        <a:prstGeom prst="rect">
          <a:avLst/>
        </a:prstGeom>
        <a:solidFill>
          <a:srgbClr val="82B3DB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chemeClr val="bg1"/>
              </a:solidFill>
            </a:rPr>
            <a:t>Chronic pain devices </a:t>
          </a:r>
        </a:p>
      </dsp:txBody>
      <dsp:txXfrm>
        <a:off x="2955214" y="637003"/>
        <a:ext cx="895177" cy="5371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7"/>
            <a:ext cx="3011699" cy="463407"/>
          </a:xfrm>
          <a:prstGeom prst="rect">
            <a:avLst/>
          </a:prstGeom>
        </p:spPr>
        <p:txBody>
          <a:bodyPr vert="horz" lIns="92344" tIns="46173" rIns="92344" bIns="46173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82" y="7"/>
            <a:ext cx="3011699" cy="463407"/>
          </a:xfrm>
          <a:prstGeom prst="rect">
            <a:avLst/>
          </a:prstGeom>
        </p:spPr>
        <p:txBody>
          <a:bodyPr vert="horz" lIns="92344" tIns="46173" rIns="92344" bIns="46173" rtlCol="0"/>
          <a:lstStyle>
            <a:lvl1pPr algn="r">
              <a:defRPr sz="1100"/>
            </a:lvl1pPr>
          </a:lstStyle>
          <a:p>
            <a:fld id="{AA5924DE-9699-42ED-A04A-A4E874D89379}" type="datetimeFigureOut">
              <a:rPr lang="en-US" smtClean="0"/>
              <a:t>4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5413" y="1154113"/>
            <a:ext cx="4159250" cy="31194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4" tIns="46173" rIns="92344" bIns="461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4"/>
          </a:xfrm>
          <a:prstGeom prst="rect">
            <a:avLst/>
          </a:prstGeom>
        </p:spPr>
        <p:txBody>
          <a:bodyPr vert="horz" lIns="92344" tIns="46173" rIns="92344" bIns="4617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8772677"/>
            <a:ext cx="3011699" cy="463406"/>
          </a:xfrm>
          <a:prstGeom prst="rect">
            <a:avLst/>
          </a:prstGeom>
        </p:spPr>
        <p:txBody>
          <a:bodyPr vert="horz" lIns="92344" tIns="46173" rIns="92344" bIns="46173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82" y="8772677"/>
            <a:ext cx="3011699" cy="463406"/>
          </a:xfrm>
          <a:prstGeom prst="rect">
            <a:avLst/>
          </a:prstGeom>
        </p:spPr>
        <p:txBody>
          <a:bodyPr vert="horz" lIns="92344" tIns="46173" rIns="92344" bIns="46173" rtlCol="0" anchor="b"/>
          <a:lstStyle>
            <a:lvl1pPr algn="r">
              <a:defRPr sz="1100"/>
            </a:lvl1pPr>
          </a:lstStyle>
          <a:p>
            <a:fld id="{57C45154-7D01-477F-93E2-1DD0EE22A2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79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450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ea typeface="+mn-lt"/>
                <a:cs typeface="+mn-lt"/>
              </a:rPr>
              <a:t>Ry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>
                <a:ea typeface="+mn-lt"/>
                <a:cs typeface="+mn-lt"/>
              </a:rPr>
              <a:t>Sales soared 18.5% from pre-pandemic levels in 2019, increased by 5% internationally compared to the US in the last year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83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6683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7621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9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thony or 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893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459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yan</a:t>
            </a:r>
          </a:p>
          <a:p>
            <a:r>
              <a:rPr lang="en-US" dirty="0"/>
              <a:t>#1 Point-of-care testing </a:t>
            </a:r>
          </a:p>
          <a:p>
            <a:r>
              <a:rPr lang="en-US" dirty="0"/>
              <a:t>#1 Infectious disease testing</a:t>
            </a:r>
          </a:p>
          <a:p>
            <a:r>
              <a:rPr lang="en-US" dirty="0"/>
              <a:t>#1 Blood and plasma serology screening </a:t>
            </a:r>
          </a:p>
          <a:p>
            <a:r>
              <a:rPr lang="en-US" dirty="0"/>
              <a:t>A leader in COVID-19 tes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430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h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128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hm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892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00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060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yr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C45154-7D01-477F-93E2-1DD0EE22A22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68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7213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286232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 algn="l">
              <a:buFontTx/>
              <a:buNone/>
              <a:defRPr sz="1200" b="0" i="0" baseline="0">
                <a:solidFill>
                  <a:srgbClr val="6C6C6B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529006" y="404667"/>
            <a:ext cx="80845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600" b="1" i="0" cap="all" spc="100" baseline="0">
                <a:solidFill>
                  <a:srgbClr val="0C265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PageNumber"/>
          <p:cNvSpPr txBox="1">
            <a:spLocks/>
          </p:cNvSpPr>
          <p:nvPr userDrawn="1"/>
        </p:nvSpPr>
        <p:spPr>
          <a:xfrm>
            <a:off x="8493798" y="6534900"/>
            <a:ext cx="132923" cy="126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1000" b="0" i="0" baseline="0">
                <a:solidFill>
                  <a:srgbClr val="595958"/>
                </a:solidFill>
                <a:latin typeface="+mj-lt"/>
              </a:defRPr>
            </a:lvl1pPr>
          </a:lstStyle>
          <a:p>
            <a:pPr lvl="0"/>
            <a:fld id="{4F3F5BFE-3AC4-44B9-96E9-E96A3D9BA323}" type="slidenum">
              <a:rPr lang="de-CH" smtClean="0">
                <a:solidFill>
                  <a:srgbClr val="6C6C6B"/>
                </a:solidFill>
              </a:rPr>
              <a:pPr lvl="0"/>
              <a:t>‹#›</a:t>
            </a:fld>
            <a:endParaRPr lang="de-CH">
              <a:solidFill>
                <a:srgbClr val="6C6C6B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C6EF8A-BE76-45E1-8D96-4B9A1A2CC0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87500" y="6375400"/>
            <a:ext cx="6435725" cy="377825"/>
          </a:xfrm>
        </p:spPr>
        <p:txBody>
          <a:bodyPr vert="horz" lIns="0" tIns="0" rIns="0" bIns="0" rtlCol="0" anchor="b"/>
          <a:lstStyle>
            <a:lvl1pPr marL="0" indent="0">
              <a:buNone/>
              <a:defRPr kumimoji="0" lang="en-US" sz="800" b="0" i="1" u="none" strike="noStrike" cap="none" spc="0" normalizeH="0" baseline="0" dirty="0">
                <a:ln>
                  <a:noFill/>
                </a:ln>
                <a:solidFill>
                  <a:srgbClr val="6C6C6B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144463" marR="0" lvl="0" indent="-144463" defTabSz="685800" fontAlgn="auto">
              <a:lnSpc>
                <a:spcPct val="90000"/>
              </a:lnSpc>
              <a:spcAft>
                <a:spcPts val="0"/>
              </a:spcAft>
              <a:buClrTx/>
              <a:buSzTx/>
              <a:tabLst/>
            </a:pPr>
            <a:endParaRPr lang="en-US"/>
          </a:p>
        </p:txBody>
      </p:sp>
      <p:pic>
        <p:nvPicPr>
          <p:cNvPr id="1026" name="Picture 2" descr="Vassar Sustainable Investment Fund">
            <a:extLst>
              <a:ext uri="{FF2B5EF4-FFF2-40B4-BE49-F238E27FC236}">
                <a16:creationId xmlns:a16="http://schemas.microsoft.com/office/drawing/2014/main" id="{85E23CAE-CF80-4CD3-983E-9F8DE6EFE1C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529006" y="6245737"/>
            <a:ext cx="621792" cy="57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770EDB7-D196-49BB-A253-60B2132F44E0}"/>
              </a:ext>
            </a:extLst>
          </p:cNvPr>
          <p:cNvGrpSpPr/>
          <p:nvPr userDrawn="1"/>
        </p:nvGrpSpPr>
        <p:grpSpPr>
          <a:xfrm>
            <a:off x="0" y="-37330"/>
            <a:ext cx="9153144" cy="177177"/>
            <a:chOff x="5386" y="0"/>
            <a:chExt cx="9153144" cy="1771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4074B18-A272-4F5A-BAC5-035BA251A018}"/>
                </a:ext>
              </a:extLst>
            </p:cNvPr>
            <p:cNvSpPr txBox="1"/>
            <p:nvPr userDrawn="1"/>
          </p:nvSpPr>
          <p:spPr>
            <a:xfrm>
              <a:off x="5386" y="0"/>
              <a:ext cx="9153144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3DE5F0-71E6-400D-AF61-53D468D5564F}"/>
                </a:ext>
              </a:extLst>
            </p:cNvPr>
            <p:cNvSpPr/>
            <p:nvPr userDrawn="1"/>
          </p:nvSpPr>
          <p:spPr>
            <a:xfrm>
              <a:off x="5386" y="0"/>
              <a:ext cx="3058110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3C42DF-D415-4249-BA0D-AB006EE13A2B}"/>
                </a:ext>
              </a:extLst>
            </p:cNvPr>
            <p:cNvSpPr/>
            <p:nvPr userDrawn="1"/>
          </p:nvSpPr>
          <p:spPr>
            <a:xfrm>
              <a:off x="3062867" y="0"/>
              <a:ext cx="3048954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5C12DD5-A0FB-47C3-8FF9-6D359735CB60}"/>
                </a:ext>
              </a:extLst>
            </p:cNvPr>
            <p:cNvSpPr/>
            <p:nvPr userDrawn="1"/>
          </p:nvSpPr>
          <p:spPr>
            <a:xfrm>
              <a:off x="6109576" y="0"/>
              <a:ext cx="3048954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51BFD89-70D3-48D6-86A5-792462E21AA2}"/>
              </a:ext>
            </a:extLst>
          </p:cNvPr>
          <p:cNvGrpSpPr/>
          <p:nvPr userDrawn="1"/>
        </p:nvGrpSpPr>
        <p:grpSpPr>
          <a:xfrm>
            <a:off x="0" y="6835140"/>
            <a:ext cx="9153144" cy="45720"/>
            <a:chOff x="0" y="1383527"/>
            <a:chExt cx="9141131" cy="177177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FC3CF7D-8D65-43D8-BFEE-0187D7FA785F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0AA99C3-F955-4599-899A-9B5144338F06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5B8E386-E3BB-4D95-8559-ABFC884DC2DD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662FA99-363C-4FF1-8F1F-29853D7C3D12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427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ageNumber"/>
          <p:cNvSpPr txBox="1">
            <a:spLocks/>
          </p:cNvSpPr>
          <p:nvPr userDrawn="1"/>
        </p:nvSpPr>
        <p:spPr>
          <a:xfrm>
            <a:off x="8493798" y="6534900"/>
            <a:ext cx="132923" cy="12600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de-DE"/>
            </a:defPPr>
            <a:lvl1pPr>
              <a:defRPr sz="1000" b="0" i="0" baseline="0">
                <a:solidFill>
                  <a:srgbClr val="595958"/>
                </a:solidFill>
                <a:latin typeface="+mj-lt"/>
              </a:defRPr>
            </a:lvl1pPr>
          </a:lstStyle>
          <a:p>
            <a:pPr lvl="0"/>
            <a:fld id="{4F3F5BFE-3AC4-44B9-96E9-E96A3D9BA323}" type="slidenum">
              <a:rPr lang="de-CH" smtClean="0">
                <a:solidFill>
                  <a:srgbClr val="6C6C6B"/>
                </a:solidFill>
              </a:rPr>
              <a:pPr lvl="0"/>
              <a:t>‹#›</a:t>
            </a:fld>
            <a:endParaRPr lang="de-CH">
              <a:solidFill>
                <a:srgbClr val="6C6C6B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E09436-F1E3-459A-A2F4-91BC7D7F0830}"/>
              </a:ext>
            </a:extLst>
          </p:cNvPr>
          <p:cNvGrpSpPr/>
          <p:nvPr userDrawn="1"/>
        </p:nvGrpSpPr>
        <p:grpSpPr>
          <a:xfrm>
            <a:off x="-1" y="-34376"/>
            <a:ext cx="9153144" cy="177177"/>
            <a:chOff x="0" y="1383527"/>
            <a:chExt cx="9141131" cy="1771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3B1C95A-9418-46E7-9272-46099EF75C61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FFC762-E44B-4203-9169-91C48EB57BE5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4069305-8BC8-4787-8782-E580FB10FBAA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FCE00A8-E748-4EE7-B527-233BB99746A4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  <p:pic>
        <p:nvPicPr>
          <p:cNvPr id="12" name="Picture 2" descr="Vassar Sustainable Investment Fund">
            <a:extLst>
              <a:ext uri="{FF2B5EF4-FFF2-40B4-BE49-F238E27FC236}">
                <a16:creationId xmlns:a16="http://schemas.microsoft.com/office/drawing/2014/main" id="{5E49497D-A639-47DD-859B-17F680B891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529006" y="6245737"/>
            <a:ext cx="621792" cy="57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11661FA-0194-40AE-88D6-48C112809C40}"/>
              </a:ext>
            </a:extLst>
          </p:cNvPr>
          <p:cNvGrpSpPr/>
          <p:nvPr userDrawn="1"/>
        </p:nvGrpSpPr>
        <p:grpSpPr>
          <a:xfrm>
            <a:off x="0" y="6835140"/>
            <a:ext cx="9153144" cy="45720"/>
            <a:chOff x="0" y="1383527"/>
            <a:chExt cx="9141131" cy="17717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DD6D438-3FEF-4FC3-83D8-518D361C6F74}"/>
                </a:ext>
              </a:extLst>
            </p:cNvPr>
            <p:cNvSpPr txBox="1"/>
            <p:nvPr userDrawn="1"/>
          </p:nvSpPr>
          <p:spPr>
            <a:xfrm>
              <a:off x="0" y="1383527"/>
              <a:ext cx="9141131" cy="177177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46B2640-E3C4-4F37-94B7-BFC33EA62A48}"/>
                </a:ext>
              </a:extLst>
            </p:cNvPr>
            <p:cNvSpPr/>
            <p:nvPr userDrawn="1"/>
          </p:nvSpPr>
          <p:spPr>
            <a:xfrm>
              <a:off x="0" y="1383527"/>
              <a:ext cx="3054096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EE701CB-BC2A-4F9A-9F0D-910B90A61524}"/>
                </a:ext>
              </a:extLst>
            </p:cNvPr>
            <p:cNvSpPr/>
            <p:nvPr userDrawn="1"/>
          </p:nvSpPr>
          <p:spPr>
            <a:xfrm>
              <a:off x="3053468" y="1383527"/>
              <a:ext cx="3044952" cy="12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E65A385-7DEA-49B4-B9C1-91C89DF7DE4E}"/>
                </a:ext>
              </a:extLst>
            </p:cNvPr>
            <p:cNvSpPr/>
            <p:nvPr userDrawn="1"/>
          </p:nvSpPr>
          <p:spPr>
            <a:xfrm>
              <a:off x="6096179" y="1383527"/>
              <a:ext cx="3044952" cy="126000"/>
            </a:xfrm>
            <a:prstGeom prst="rect">
              <a:avLst/>
            </a:prstGeom>
            <a:solidFill>
              <a:srgbClr val="0095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247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9E7B8-70F3-42C2-B535-39B21684A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D578DF-E162-4B81-B6BB-C96859E59E6E}"/>
              </a:ext>
            </a:extLst>
          </p:cNvPr>
          <p:cNvSpPr txBox="1"/>
          <p:nvPr userDrawn="1"/>
        </p:nvSpPr>
        <p:spPr>
          <a:xfrm>
            <a:off x="595618" y="1216404"/>
            <a:ext cx="2919369" cy="10318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en-US" sz="100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81271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Placeholder"/>
          <p:cNvSpPr>
            <a:spLocks noGrp="1"/>
          </p:cNvSpPr>
          <p:nvPr>
            <p:ph type="title"/>
          </p:nvPr>
        </p:nvSpPr>
        <p:spPr>
          <a:xfrm>
            <a:off x="451384" y="518403"/>
            <a:ext cx="8240574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MasterTextPlaceholder"/>
          <p:cNvSpPr>
            <a:spLocks noGrp="1"/>
          </p:cNvSpPr>
          <p:nvPr>
            <p:ph type="body" idx="1"/>
          </p:nvPr>
        </p:nvSpPr>
        <p:spPr>
          <a:xfrm>
            <a:off x="517846" y="1484999"/>
            <a:ext cx="8108308" cy="47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empower - DO NOT DELETE!!!" hidden="1"/>
          <p:cNvSpPr/>
          <p:nvPr userDrawn="1">
            <p:custDataLst>
              <p:tags r:id="rId7"/>
            </p:custDataLst>
          </p:nvPr>
        </p:nvSpPr>
        <p:spPr>
          <a:xfrm>
            <a:off x="-1172308" y="-1270000"/>
            <a:ext cx="0" cy="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>
              <a:solidFill>
                <a:srgbClr val="0F2F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396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1" r:id="rId2"/>
    <p:sldLayoutId id="2147483682" r:id="rId3"/>
    <p:sldLayoutId id="214748368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rgbClr val="0C2652"/>
          </a:solidFill>
          <a:latin typeface="+mj-lt"/>
          <a:ea typeface="+mj-ea"/>
          <a:cs typeface="+mj-cs"/>
        </a:defRPr>
      </a:lvl1pPr>
    </p:titleStyle>
    <p:bodyStyle>
      <a:lvl1pPr marL="144463" indent="-144463" algn="l" defTabSz="914400" rtl="0" eaLnBrk="1" latinLnBrk="0" hangingPunct="1">
        <a:lnSpc>
          <a:spcPct val="105000"/>
        </a:lnSpc>
        <a:spcBef>
          <a:spcPts val="0"/>
        </a:spcBef>
        <a:buSzPct val="110000"/>
        <a:buFont typeface="Arial" pitchFamily="34" charset="0"/>
        <a:buChar char="•"/>
        <a:defRPr sz="1100" kern="1200">
          <a:solidFill>
            <a:srgbClr val="0C2652"/>
          </a:solidFill>
          <a:latin typeface="+mn-lt"/>
          <a:ea typeface="+mn-ea"/>
          <a:cs typeface="+mn-cs"/>
        </a:defRPr>
      </a:lvl1pPr>
      <a:lvl2pPr marL="271463" indent="-117475" algn="l" defTabSz="914400" rtl="0" eaLnBrk="1" latinLnBrk="0" hangingPunct="1">
        <a:lnSpc>
          <a:spcPct val="105000"/>
        </a:lnSpc>
        <a:spcBef>
          <a:spcPts val="0"/>
        </a:spcBef>
        <a:buSzPct val="110000"/>
        <a:buFont typeface="Arial" pitchFamily="34" charset="0"/>
        <a:buChar char="›"/>
        <a:defRPr sz="1100" kern="1200">
          <a:solidFill>
            <a:srgbClr val="0C2652"/>
          </a:solidFill>
          <a:latin typeface="+mn-lt"/>
          <a:ea typeface="+mn-ea"/>
          <a:cs typeface="+mn-cs"/>
        </a:defRPr>
      </a:lvl2pPr>
      <a:lvl3pPr marL="442913" indent="-171450" algn="l" defTabSz="914400" rtl="0" eaLnBrk="1" latinLnBrk="0" hangingPunct="1">
        <a:lnSpc>
          <a:spcPct val="105000"/>
        </a:lnSpc>
        <a:spcBef>
          <a:spcPts val="0"/>
        </a:spcBef>
        <a:buFont typeface="Symbol" panose="05050102010706020507" pitchFamily="18" charset="2"/>
        <a:buChar char="-"/>
        <a:defRPr sz="1100" kern="1200">
          <a:solidFill>
            <a:srgbClr val="0C2652"/>
          </a:solidFill>
          <a:latin typeface="+mn-lt"/>
          <a:ea typeface="+mn-ea"/>
          <a:cs typeface="+mn-cs"/>
        </a:defRPr>
      </a:lvl3pPr>
      <a:lvl4pPr marL="625475" indent="-182563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100" kern="1200">
          <a:solidFill>
            <a:srgbClr val="0C2652"/>
          </a:solidFill>
          <a:latin typeface="+mn-lt"/>
          <a:ea typeface="+mn-ea"/>
          <a:cs typeface="+mn-cs"/>
        </a:defRPr>
      </a:lvl4pPr>
      <a:lvl5pPr marL="806450" indent="-180975" algn="l" defTabSz="914400" rtl="0" eaLnBrk="1" latinLnBrk="0" hangingPunct="1">
        <a:lnSpc>
          <a:spcPct val="105000"/>
        </a:lnSpc>
        <a:spcBef>
          <a:spcPts val="0"/>
        </a:spcBef>
        <a:buFont typeface="Symbol" panose="05050102010706020507" pitchFamily="18" charset="2"/>
        <a:buChar char="-"/>
        <a:defRPr sz="1100" kern="1200">
          <a:solidFill>
            <a:srgbClr val="0C265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8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1.sv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33.png"/><Relationship Id="rId15" Type="http://schemas.openxmlformats.org/officeDocument/2006/relationships/image" Target="../media/image40.png"/><Relationship Id="rId10" Type="http://schemas.openxmlformats.org/officeDocument/2006/relationships/image" Target="../media/image36.png"/><Relationship Id="rId4" Type="http://schemas.openxmlformats.org/officeDocument/2006/relationships/image" Target="../media/image32.png"/><Relationship Id="rId9" Type="http://schemas.microsoft.com/office/2007/relationships/hdphoto" Target="../media/hdphoto2.wdp"/><Relationship Id="rId14" Type="http://schemas.openxmlformats.org/officeDocument/2006/relationships/image" Target="../media/image39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image" Target="../media/image4.png"/><Relationship Id="rId21" Type="http://schemas.openxmlformats.org/officeDocument/2006/relationships/image" Target="../media/image17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7.png"/><Relationship Id="rId24" Type="http://schemas.openxmlformats.org/officeDocument/2006/relationships/image" Target="../media/image20.svg"/><Relationship Id="rId5" Type="http://schemas.openxmlformats.org/officeDocument/2006/relationships/diagramLayout" Target="../diagrams/layout1.xml"/><Relationship Id="rId15" Type="http://schemas.openxmlformats.org/officeDocument/2006/relationships/image" Target="../media/image11.png"/><Relationship Id="rId23" Type="http://schemas.openxmlformats.org/officeDocument/2006/relationships/image" Target="../media/image19.png"/><Relationship Id="rId10" Type="http://schemas.openxmlformats.org/officeDocument/2006/relationships/image" Target="../media/image6.svg"/><Relationship Id="rId19" Type="http://schemas.openxmlformats.org/officeDocument/2006/relationships/image" Target="../media/image15.png"/><Relationship Id="rId4" Type="http://schemas.openxmlformats.org/officeDocument/2006/relationships/diagramData" Target="../diagrams/data1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Relationship Id="rId22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1454C0D-83A7-4BC2-8A1D-1B039C44ED4C}"/>
              </a:ext>
            </a:extLst>
          </p:cNvPr>
          <p:cNvGrpSpPr/>
          <p:nvPr/>
        </p:nvGrpSpPr>
        <p:grpSpPr>
          <a:xfrm>
            <a:off x="955682" y="4920248"/>
            <a:ext cx="4722916" cy="670593"/>
            <a:chOff x="473890" y="2619183"/>
            <a:chExt cx="4722916" cy="67059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846D375-4873-4F38-95BC-C211D9E66344}"/>
                </a:ext>
              </a:extLst>
            </p:cNvPr>
            <p:cNvSpPr/>
            <p:nvPr/>
          </p:nvSpPr>
          <p:spPr>
            <a:xfrm>
              <a:off x="571543" y="2619183"/>
              <a:ext cx="4625263" cy="670592"/>
            </a:xfrm>
            <a:prstGeom prst="rect">
              <a:avLst/>
            </a:prstGeom>
            <a:ln w="28575">
              <a:solidFill>
                <a:srgbClr val="00A1DA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A74B77A-1A0D-4326-90B1-56FF9FE483EF}"/>
                </a:ext>
              </a:extLst>
            </p:cNvPr>
            <p:cNvSpPr/>
            <p:nvPr/>
          </p:nvSpPr>
          <p:spPr>
            <a:xfrm>
              <a:off x="473890" y="2619184"/>
              <a:ext cx="97654" cy="670592"/>
            </a:xfrm>
            <a:prstGeom prst="rect">
              <a:avLst/>
            </a:prstGeom>
            <a:solidFill>
              <a:srgbClr val="00A1DA"/>
            </a:solidFill>
            <a:ln w="28575">
              <a:solidFill>
                <a:srgbClr val="00A1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5731CED-DC89-6F44-BDFD-F6636F4F380A}"/>
                </a:ext>
              </a:extLst>
            </p:cNvPr>
            <p:cNvSpPr txBox="1"/>
            <p:nvPr/>
          </p:nvSpPr>
          <p:spPr>
            <a:xfrm>
              <a:off x="745306" y="2727525"/>
              <a:ext cx="3304988" cy="46166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1000" b="1" dirty="0"/>
                <a:t>Current Price: </a:t>
              </a:r>
              <a:r>
                <a:rPr lang="en-US" sz="1000" dirty="0"/>
                <a:t>119.94</a:t>
              </a:r>
              <a:endParaRPr lang="en-US" sz="1000" b="1" dirty="0"/>
            </a:p>
            <a:p>
              <a:r>
                <a:rPr lang="en-US" sz="1000" b="1" dirty="0"/>
                <a:t>Target Price: </a:t>
              </a:r>
              <a:r>
                <a:rPr lang="en-US" sz="1000" dirty="0"/>
                <a:t>138.69 (15.6% upside)</a:t>
              </a:r>
            </a:p>
            <a:p>
              <a:r>
                <a:rPr lang="en-US" sz="1000" b="1" dirty="0"/>
                <a:t>Time Horizon: </a:t>
              </a:r>
              <a:r>
                <a:rPr lang="en-US" sz="1000" dirty="0"/>
                <a:t>12-18 month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7A0EAD-9490-4E0A-B660-8CC61A06B53D}"/>
              </a:ext>
            </a:extLst>
          </p:cNvPr>
          <p:cNvGrpSpPr/>
          <p:nvPr/>
        </p:nvGrpSpPr>
        <p:grpSpPr>
          <a:xfrm>
            <a:off x="955682" y="5660152"/>
            <a:ext cx="4722916" cy="670593"/>
            <a:chOff x="473890" y="2619183"/>
            <a:chExt cx="4722916" cy="67059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0941CC9-D319-4854-BA07-03A1BFABCD1F}"/>
                </a:ext>
              </a:extLst>
            </p:cNvPr>
            <p:cNvSpPr/>
            <p:nvPr/>
          </p:nvSpPr>
          <p:spPr>
            <a:xfrm>
              <a:off x="571543" y="2619183"/>
              <a:ext cx="4625263" cy="670592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1656048-D0D6-4B96-A7F7-2AE3CCFA517C}"/>
                </a:ext>
              </a:extLst>
            </p:cNvPr>
            <p:cNvSpPr/>
            <p:nvPr/>
          </p:nvSpPr>
          <p:spPr>
            <a:xfrm>
              <a:off x="473890" y="2619184"/>
              <a:ext cx="97654" cy="670592"/>
            </a:xfrm>
            <a:prstGeom prst="rect">
              <a:avLst/>
            </a:prstGeom>
            <a:solidFill>
              <a:srgbClr val="00B050"/>
            </a:solidFill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C25B88C-72A2-4C41-810E-B51DA8950C0E}"/>
                </a:ext>
              </a:extLst>
            </p:cNvPr>
            <p:cNvSpPr txBox="1"/>
            <p:nvPr/>
          </p:nvSpPr>
          <p:spPr>
            <a:xfrm>
              <a:off x="745306" y="2800590"/>
              <a:ext cx="3304988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r>
                <a:rPr lang="en-US" sz="1000" b="1"/>
                <a:t>Director:</a:t>
              </a:r>
              <a:r>
                <a:rPr lang="en-US" sz="1000"/>
                <a:t> Bayron Quillay</a:t>
              </a:r>
            </a:p>
            <a:p>
              <a:r>
                <a:rPr lang="en-US" sz="1000" b="1"/>
                <a:t>Analysts:</a:t>
              </a:r>
              <a:r>
                <a:rPr lang="en-US" sz="1000"/>
                <a:t> Ryan Harris, Ahmed Abbasy, Anthony </a:t>
              </a:r>
              <a:r>
                <a:rPr lang="en-US" sz="1000" err="1"/>
                <a:t>Eduafo</a:t>
              </a:r>
              <a:endParaRPr lang="en-US" sz="1000"/>
            </a:p>
          </p:txBody>
        </p:sp>
      </p:grpSp>
      <p:pic>
        <p:nvPicPr>
          <p:cNvPr id="17" name="Picture 2" descr="Vassar Sustainable Investment Fund">
            <a:extLst>
              <a:ext uri="{FF2B5EF4-FFF2-40B4-BE49-F238E27FC236}">
                <a16:creationId xmlns:a16="http://schemas.microsoft.com/office/drawing/2014/main" id="{FF16984B-10D8-4F9A-A3BE-AA71C745E0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6"/>
          <a:stretch/>
        </p:blipFill>
        <p:spPr bwMode="auto">
          <a:xfrm>
            <a:off x="6143979" y="4663719"/>
            <a:ext cx="2044339" cy="1901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Abbott names Robert Funck new CFO replacing Brian Yoor | Crain's Chicago  Business">
            <a:extLst>
              <a:ext uri="{FF2B5EF4-FFF2-40B4-BE49-F238E27FC236}">
                <a16:creationId xmlns:a16="http://schemas.microsoft.com/office/drawing/2014/main" id="{0C4F06C8-8268-4986-B329-BE27F5C3A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82" y="182880"/>
            <a:ext cx="8720092" cy="4398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67014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02C4AEA-8D95-4877-B5CE-0F42FB10A1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585058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41025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309ADB-F029-4852-BD70-B702A4623F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ESG Analysi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A6F934-C25A-47DE-BACB-D12C0F7D9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vironmental, social &amp; governance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2BE756-6DE5-42A1-83C8-2A3672CE39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https://www.abbott.com/corpnewsroom/sustainability/top-industry-score-in-sustainability-for-9th-year.htm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9D11C56-75C0-4FC8-ABF2-82106E28BA97}"/>
              </a:ext>
            </a:extLst>
          </p:cNvPr>
          <p:cNvCxnSpPr>
            <a:cxnSpLocks/>
          </p:cNvCxnSpPr>
          <p:nvPr/>
        </p:nvCxnSpPr>
        <p:spPr>
          <a:xfrm>
            <a:off x="3127109" y="1566133"/>
            <a:ext cx="0" cy="304922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93C2942-792B-9C4B-81E7-DE1F3B77A761}"/>
              </a:ext>
            </a:extLst>
          </p:cNvPr>
          <p:cNvSpPr txBox="1"/>
          <p:nvPr/>
        </p:nvSpPr>
        <p:spPr>
          <a:xfrm>
            <a:off x="6771941" y="1256353"/>
            <a:ext cx="1251284" cy="6015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218CCFF-BE00-42DE-830B-4D2EC131990F}"/>
              </a:ext>
            </a:extLst>
          </p:cNvPr>
          <p:cNvCxnSpPr>
            <a:cxnSpLocks/>
          </p:cNvCxnSpPr>
          <p:nvPr/>
        </p:nvCxnSpPr>
        <p:spPr>
          <a:xfrm>
            <a:off x="6015920" y="1590365"/>
            <a:ext cx="0" cy="304942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333623-86E7-7C4B-BAEC-A42F902EB7D2}"/>
              </a:ext>
            </a:extLst>
          </p:cNvPr>
          <p:cNvGrpSpPr/>
          <p:nvPr/>
        </p:nvGrpSpPr>
        <p:grpSpPr>
          <a:xfrm>
            <a:off x="529006" y="1585452"/>
            <a:ext cx="2376572" cy="3046491"/>
            <a:chOff x="529006" y="1585452"/>
            <a:chExt cx="2376572" cy="30464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5396609-4814-47E9-91DE-5F297631A895}"/>
                </a:ext>
              </a:extLst>
            </p:cNvPr>
            <p:cNvSpPr/>
            <p:nvPr/>
          </p:nvSpPr>
          <p:spPr>
            <a:xfrm>
              <a:off x="529006" y="1585453"/>
              <a:ext cx="2376572" cy="304649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C3FF8E34-FE1A-4D48-B62A-CD0F22B0A2AF}"/>
                </a:ext>
              </a:extLst>
            </p:cNvPr>
            <p:cNvSpPr/>
            <p:nvPr/>
          </p:nvSpPr>
          <p:spPr>
            <a:xfrm>
              <a:off x="550178" y="1585452"/>
              <a:ext cx="457200" cy="3046490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rgbClr val="0095DA"/>
                </a:solidFill>
                <a:highlight>
                  <a:srgbClr val="00FFFF"/>
                </a:highlight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6FAD0D2-958C-41A1-8338-896A62E33829}"/>
                </a:ext>
              </a:extLst>
            </p:cNvPr>
            <p:cNvSpPr txBox="1"/>
            <p:nvPr/>
          </p:nvSpPr>
          <p:spPr>
            <a:xfrm>
              <a:off x="1028550" y="1664569"/>
              <a:ext cx="1824489" cy="296737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1430"/>
              <a:r>
                <a:rPr lang="en-US" sz="1000" b="1">
                  <a:solidFill>
                    <a:schemeClr val="accent1">
                      <a:lumMod val="50000"/>
                    </a:schemeClr>
                  </a:solidFill>
                </a:rPr>
                <a:t>Green House Gases</a:t>
              </a:r>
            </a:p>
            <a:p>
              <a:pPr marL="182880" indent="-171450">
                <a:buFont typeface="Calibri" panose="020F0502020204030204" pitchFamily="34" charset="0"/>
                <a:buChar char="»"/>
              </a:pPr>
              <a:r>
                <a:rPr lang="en-US" sz="1000"/>
                <a:t>Announced a 30% reduction of absolute Scope 1 and Scope 2 emissions by 2030</a:t>
              </a:r>
            </a:p>
            <a:p>
              <a:pPr marL="11430"/>
              <a:endParaRPr lang="en-US" sz="1000"/>
            </a:p>
            <a:p>
              <a:pPr marL="11430"/>
              <a:r>
                <a:rPr lang="en-US" sz="1000" b="1">
                  <a:solidFill>
                    <a:schemeClr val="accent1">
                      <a:lumMod val="50000"/>
                    </a:schemeClr>
                  </a:solidFill>
                </a:rPr>
                <a:t>Resource Depletion</a:t>
              </a:r>
            </a:p>
            <a:p>
              <a:pPr marL="171450" indent="-171450">
                <a:buFont typeface="Calibri" panose="020F0502020204030204" pitchFamily="34" charset="0"/>
                <a:buChar char="»"/>
              </a:pPr>
              <a:r>
                <a:rPr lang="en-US" sz="1000"/>
                <a:t>Implement accredited water stewardship management practices in more than 75% of manufacturing sites in water-stressed areas</a:t>
              </a:r>
            </a:p>
            <a:p>
              <a:pPr marL="171450" indent="-171450">
                <a:buFont typeface="Calibri" panose="020F0502020204030204" pitchFamily="34" charset="0"/>
                <a:buChar char="»"/>
              </a:pPr>
              <a:r>
                <a:rPr lang="en-US" sz="1000"/>
                <a:t>Use a circular economy approach to achieve and maintain at least a 90% waste diversion rate.</a:t>
              </a:r>
            </a:p>
            <a:p>
              <a:pPr marL="182880" indent="-171450">
                <a:buFont typeface="Calibri" panose="020F0502020204030204" pitchFamily="34" charset="0"/>
                <a:buChar char="»"/>
              </a:pPr>
              <a:endParaRPr lang="en-US" sz="1000"/>
            </a:p>
            <a:p>
              <a:endParaRPr lang="en-US" sz="100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D144B77-D921-864D-A279-784A36822C3A}"/>
              </a:ext>
            </a:extLst>
          </p:cNvPr>
          <p:cNvGrpSpPr/>
          <p:nvPr/>
        </p:nvGrpSpPr>
        <p:grpSpPr>
          <a:xfrm>
            <a:off x="550179" y="-455537"/>
            <a:ext cx="2372230" cy="247375"/>
            <a:chOff x="546492" y="4877621"/>
            <a:chExt cx="8042158" cy="247375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13DD3B02-F316-E542-8AA8-8C2B13DAC794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503BC53-CB33-7A47-91DA-5156C6FF02F8}"/>
                </a:ext>
              </a:extLst>
            </p:cNvPr>
            <p:cNvSpPr txBox="1"/>
            <p:nvPr/>
          </p:nvSpPr>
          <p:spPr>
            <a:xfrm>
              <a:off x="546492" y="4877621"/>
              <a:ext cx="3511522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Analyst  Commentary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B3525E0-B037-7F4C-955B-DE1D9A7DFEB9}"/>
              </a:ext>
            </a:extLst>
          </p:cNvPr>
          <p:cNvGrpSpPr/>
          <p:nvPr/>
        </p:nvGrpSpPr>
        <p:grpSpPr>
          <a:xfrm>
            <a:off x="6194233" y="1201137"/>
            <a:ext cx="2372231" cy="270110"/>
            <a:chOff x="1357046" y="4854886"/>
            <a:chExt cx="5595908" cy="270110"/>
          </a:xfrm>
        </p:grpSpPr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4AF174C0-1E16-8B40-9746-77A8F040D08F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0459033-EC96-6E49-B8E6-A6FEE658E2F6}"/>
                </a:ext>
              </a:extLst>
            </p:cNvPr>
            <p:cNvSpPr txBox="1"/>
            <p:nvPr/>
          </p:nvSpPr>
          <p:spPr>
            <a:xfrm>
              <a:off x="3176155" y="4854886"/>
              <a:ext cx="1957686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Governance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50B9BF18-1F34-E644-BC4B-22481BD91211}"/>
              </a:ext>
            </a:extLst>
          </p:cNvPr>
          <p:cNvSpPr/>
          <p:nvPr/>
        </p:nvSpPr>
        <p:spPr>
          <a:xfrm>
            <a:off x="1739902" y="5217162"/>
            <a:ext cx="5651498" cy="8324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000">
                <a:solidFill>
                  <a:srgbClr val="0C2652"/>
                </a:solidFill>
              </a:rPr>
              <a:t>Recently named 100 Best ESG Companies by Investor’s Business Daily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000">
                <a:solidFill>
                  <a:srgbClr val="0C2652"/>
                </a:solidFill>
              </a:rPr>
              <a:t>Top Industry Score in Sustainability out of 84 companies in the S&amp;P Global Corporate Sustainability Assessment</a:t>
            </a:r>
          </a:p>
          <a:p>
            <a:pPr marL="171450" indent="-171450">
              <a:buFont typeface="Calibri" panose="020F0502020204030204" pitchFamily="34" charset="0"/>
              <a:buChar char="»"/>
            </a:pPr>
            <a:r>
              <a:rPr lang="en-US" sz="1000">
                <a:solidFill>
                  <a:srgbClr val="0C2652"/>
                </a:solidFill>
              </a:rPr>
              <a:t>Leader in the Health Care Equipment &amp; Supplies sector for nine consecutive years and included on broader Dow Jones Sustainability Index (DJSI) for 17 consecutive yea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0A3926-EB2D-7D49-A869-78A39FFDDDA3}"/>
              </a:ext>
            </a:extLst>
          </p:cNvPr>
          <p:cNvSpPr txBox="1"/>
          <p:nvPr/>
        </p:nvSpPr>
        <p:spPr>
          <a:xfrm>
            <a:off x="3423827" y="1301755"/>
            <a:ext cx="1924359" cy="37695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6D58A7-F589-1542-BB32-E57DF9AE8DF4}"/>
              </a:ext>
            </a:extLst>
          </p:cNvPr>
          <p:cNvGrpSpPr/>
          <p:nvPr/>
        </p:nvGrpSpPr>
        <p:grpSpPr>
          <a:xfrm>
            <a:off x="3387217" y="1585451"/>
            <a:ext cx="2381496" cy="3050416"/>
            <a:chOff x="3387217" y="1585451"/>
            <a:chExt cx="2381496" cy="305041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711EF66-3A5B-4AD8-B136-A8BE13A4B77C}"/>
                </a:ext>
              </a:extLst>
            </p:cNvPr>
            <p:cNvSpPr/>
            <p:nvPr/>
          </p:nvSpPr>
          <p:spPr>
            <a:xfrm>
              <a:off x="3391273" y="1585451"/>
              <a:ext cx="2377440" cy="304669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/>
                <a:t>-</a:t>
              </a:r>
              <a:br>
                <a:rPr lang="en-US" sz="1200"/>
              </a:br>
              <a:r>
                <a:rPr lang="en-US" sz="1200"/>
                <a:t>	</a:t>
              </a:r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A924A83C-98B7-4FF8-BF11-3F44B49668C8}"/>
                </a:ext>
              </a:extLst>
            </p:cNvPr>
            <p:cNvSpPr/>
            <p:nvPr/>
          </p:nvSpPr>
          <p:spPr>
            <a:xfrm>
              <a:off x="3387217" y="1585451"/>
              <a:ext cx="457200" cy="3046491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82B3DB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F1E5BB9-48F6-9A42-8B9B-C2CC8F352933}"/>
                </a:ext>
              </a:extLst>
            </p:cNvPr>
            <p:cNvSpPr txBox="1"/>
            <p:nvPr/>
          </p:nvSpPr>
          <p:spPr>
            <a:xfrm>
              <a:off x="3930762" y="1857932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EC0A7E2-547A-4A44-99AB-143BC8A84645}"/>
                </a:ext>
              </a:extLst>
            </p:cNvPr>
            <p:cNvSpPr txBox="1"/>
            <p:nvPr/>
          </p:nvSpPr>
          <p:spPr>
            <a:xfrm>
              <a:off x="3875101" y="1660642"/>
              <a:ext cx="1805981" cy="2975225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000" b="1">
                  <a:solidFill>
                    <a:srgbClr val="0C2652"/>
                  </a:solidFill>
                </a:rPr>
                <a:t>Diversity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Increase spending with diverse and small businesses 50% by 2030, and Black- and women-owned businesses 150% by 2025, from a 2020 baseline.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Ensure gender balance in STEM roles with at least 45% female representation.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Aim for 1/3 of our leadership roles are held by people from underrepresented groups by 2025.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Maintain leadership accountability by tying executive compensation to diversity outcomes. </a:t>
              </a:r>
              <a:br>
                <a:rPr lang="en-US" sz="1000"/>
              </a:br>
              <a:endParaRPr lang="en-US" sz="1000"/>
            </a:p>
            <a:p>
              <a:endParaRPr lang="en-US" sz="10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83AD18A-02B9-8649-8163-39BC8585288F}"/>
              </a:ext>
            </a:extLst>
          </p:cNvPr>
          <p:cNvSpPr txBox="1"/>
          <p:nvPr/>
        </p:nvSpPr>
        <p:spPr>
          <a:xfrm>
            <a:off x="6685596" y="1590365"/>
            <a:ext cx="1924212" cy="38869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4F8491C-743F-4DB8-B484-DE70F942CF90}"/>
              </a:ext>
            </a:extLst>
          </p:cNvPr>
          <p:cNvGrpSpPr/>
          <p:nvPr/>
        </p:nvGrpSpPr>
        <p:grpSpPr>
          <a:xfrm>
            <a:off x="6228396" y="1564105"/>
            <a:ext cx="2385136" cy="3068045"/>
            <a:chOff x="6228396" y="1564105"/>
            <a:chExt cx="2385136" cy="306804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BA62CF-7501-EB48-A8A4-0C25AC69A28F}"/>
                </a:ext>
              </a:extLst>
            </p:cNvPr>
            <p:cNvSpPr txBox="1"/>
            <p:nvPr/>
          </p:nvSpPr>
          <p:spPr>
            <a:xfrm>
              <a:off x="7796463" y="1564105"/>
              <a:ext cx="0" cy="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8D4F3FB-518D-4050-BA34-F529D6C79924}"/>
                </a:ext>
              </a:extLst>
            </p:cNvPr>
            <p:cNvSpPr/>
            <p:nvPr/>
          </p:nvSpPr>
          <p:spPr>
            <a:xfrm>
              <a:off x="6236092" y="1582721"/>
              <a:ext cx="2377440" cy="304942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>
                <a:solidFill>
                  <a:srgbClr val="0F2F45"/>
                </a:solidFill>
              </a:endParaRPr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2E126B24-6E44-40AF-B2C3-4F61BE71CDB7}"/>
                </a:ext>
              </a:extLst>
            </p:cNvPr>
            <p:cNvSpPr/>
            <p:nvPr/>
          </p:nvSpPr>
          <p:spPr>
            <a:xfrm>
              <a:off x="6228396" y="1585450"/>
              <a:ext cx="457200" cy="3046693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614EE28-9E5E-BB44-9C1C-349F7DD3BB2A}"/>
                </a:ext>
              </a:extLst>
            </p:cNvPr>
            <p:cNvSpPr txBox="1"/>
            <p:nvPr/>
          </p:nvSpPr>
          <p:spPr>
            <a:xfrm>
              <a:off x="6709563" y="1664569"/>
              <a:ext cx="1818568" cy="296737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000" b="1">
                  <a:solidFill>
                    <a:srgbClr val="0C2652"/>
                  </a:solidFill>
                </a:rPr>
                <a:t>Supply Chain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Certify that 80% of newly contracted direct material spends are linked to contracts that incorporate social responsibility requirements.</a:t>
              </a:r>
            </a:p>
            <a:p>
              <a:pPr marL="171450" indent="-171450">
                <a:buFont typeface="System Font Regular"/>
                <a:buChar char="»"/>
              </a:pPr>
              <a:r>
                <a:rPr lang="en-US" sz="1000"/>
                <a:t>Ensure ethical sourcing from all suppliers with high-risk sustainability factors through 100% auditing </a:t>
              </a:r>
              <a:br>
                <a:rPr lang="en-US" sz="1000"/>
              </a:br>
              <a:endParaRPr lang="en-US" sz="1000"/>
            </a:p>
            <a:p>
              <a:pPr marL="171450" indent="-171450">
                <a:buFont typeface="System Font Regular"/>
                <a:buChar char="»"/>
              </a:pPr>
              <a:endParaRPr lang="en-US" sz="10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F340134-B2E4-7141-8758-2CBDDAE3404F}"/>
              </a:ext>
            </a:extLst>
          </p:cNvPr>
          <p:cNvGrpSpPr/>
          <p:nvPr/>
        </p:nvGrpSpPr>
        <p:grpSpPr>
          <a:xfrm>
            <a:off x="3384503" y="4832502"/>
            <a:ext cx="2360243" cy="270110"/>
            <a:chOff x="1357046" y="4854886"/>
            <a:chExt cx="5595908" cy="270110"/>
          </a:xfrm>
        </p:grpSpPr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5751A65-FC6D-5D45-A5D4-77724CFE12E5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04B67D1-4DC0-9C4E-873C-1DC7BEA7F361}"/>
                </a:ext>
              </a:extLst>
            </p:cNvPr>
            <p:cNvSpPr txBox="1"/>
            <p:nvPr/>
          </p:nvSpPr>
          <p:spPr>
            <a:xfrm>
              <a:off x="2676412" y="4854886"/>
              <a:ext cx="295717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Notable Mention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A73EB9D-F994-4398-B1F3-CA286E544B23}"/>
              </a:ext>
            </a:extLst>
          </p:cNvPr>
          <p:cNvGrpSpPr/>
          <p:nvPr/>
        </p:nvGrpSpPr>
        <p:grpSpPr>
          <a:xfrm>
            <a:off x="3377647" y="1169500"/>
            <a:ext cx="2372231" cy="270110"/>
            <a:chOff x="1357046" y="4854886"/>
            <a:chExt cx="5595908" cy="270110"/>
          </a:xfrm>
        </p:grpSpPr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762BD2E3-A086-43CA-B4F7-93A4826FAD33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8172CE0-63CE-4B10-B5DA-95470BD9C1E9}"/>
                </a:ext>
              </a:extLst>
            </p:cNvPr>
            <p:cNvSpPr txBox="1"/>
            <p:nvPr/>
          </p:nvSpPr>
          <p:spPr>
            <a:xfrm>
              <a:off x="3678546" y="4854886"/>
              <a:ext cx="952903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Social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4355209-D985-40FA-B5E0-99E8181D54EF}"/>
              </a:ext>
            </a:extLst>
          </p:cNvPr>
          <p:cNvGrpSpPr/>
          <p:nvPr/>
        </p:nvGrpSpPr>
        <p:grpSpPr>
          <a:xfrm>
            <a:off x="550178" y="1155564"/>
            <a:ext cx="2372231" cy="270110"/>
            <a:chOff x="1357046" y="4854886"/>
            <a:chExt cx="5595908" cy="270110"/>
          </a:xfrm>
        </p:grpSpPr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D372BCB9-EA87-4F76-B0B9-ABA221529E32}"/>
                </a:ext>
              </a:extLst>
            </p:cNvPr>
            <p:cNvCxnSpPr>
              <a:cxnSpLocks/>
            </p:cNvCxnSpPr>
            <p:nvPr/>
          </p:nvCxnSpPr>
          <p:spPr>
            <a:xfrm>
              <a:off x="1357046" y="5124996"/>
              <a:ext cx="559590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A4348E7-4DDE-4C62-91BA-56B539AEDFFA}"/>
                </a:ext>
              </a:extLst>
            </p:cNvPr>
            <p:cNvSpPr txBox="1"/>
            <p:nvPr/>
          </p:nvSpPr>
          <p:spPr>
            <a:xfrm>
              <a:off x="2959566" y="4854886"/>
              <a:ext cx="2390878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Environment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8563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CBB6693-DE69-49A9-9DB6-95B107295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013412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8231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4DAA37-32B1-46A8-AD18-9A9CAE34F4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EEC322-2C31-411A-94FB-645EE9A7D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etitive Land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50D9F-68A9-48EF-BE7B-8D85864C68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FactSet &amp; Company Pages</a:t>
            </a: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F64C0B2C-A50D-4D8D-B044-8456DDAF38E7}"/>
              </a:ext>
            </a:extLst>
          </p:cNvPr>
          <p:cNvSpPr>
            <a:spLocks/>
          </p:cNvSpPr>
          <p:nvPr/>
        </p:nvSpPr>
        <p:spPr>
          <a:xfrm>
            <a:off x="438090" y="1868846"/>
            <a:ext cx="8255185" cy="45719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0C255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B2130838-DC47-4D7F-AA78-D81C6A4AB082}"/>
              </a:ext>
            </a:extLst>
          </p:cNvPr>
          <p:cNvSpPr>
            <a:spLocks/>
          </p:cNvSpPr>
          <p:nvPr/>
        </p:nvSpPr>
        <p:spPr>
          <a:xfrm rot="5400000" flipV="1">
            <a:off x="1991003" y="3128720"/>
            <a:ext cx="8244013" cy="45719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4917678C-D42D-43D0-A582-8B7CA08ECF6A}"/>
              </a:ext>
            </a:extLst>
          </p:cNvPr>
          <p:cNvSpPr>
            <a:spLocks/>
          </p:cNvSpPr>
          <p:nvPr/>
        </p:nvSpPr>
        <p:spPr>
          <a:xfrm rot="5400000">
            <a:off x="-1024572" y="3850278"/>
            <a:ext cx="8164270" cy="0"/>
          </a:xfrm>
          <a:custGeom>
            <a:avLst/>
            <a:gdLst/>
            <a:ahLst/>
            <a:cxnLst/>
            <a:rect l="l" t="t" r="r" b="b"/>
            <a:pathLst>
              <a:path w="8242300">
                <a:moveTo>
                  <a:pt x="0" y="0"/>
                </a:moveTo>
                <a:lnTo>
                  <a:pt x="8242300" y="0"/>
                </a:lnTo>
              </a:path>
            </a:pathLst>
          </a:custGeom>
          <a:ln w="1270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 sz="2800"/>
          </a:p>
        </p:txBody>
      </p:sp>
      <p:pic>
        <p:nvPicPr>
          <p:cNvPr id="14" name="Picture 14" descr="Logo&#10;&#10;Description automatically generated">
            <a:extLst>
              <a:ext uri="{FF2B5EF4-FFF2-40B4-BE49-F238E27FC236}">
                <a16:creationId xmlns:a16="http://schemas.microsoft.com/office/drawing/2014/main" id="{C6BBAE18-CDD7-419C-8D7F-F7C3222A09C2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3568175" y="1141268"/>
            <a:ext cx="2014741" cy="567767"/>
          </a:xfrm>
          <a:prstGeom prst="rect">
            <a:avLst/>
          </a:prstGeom>
        </p:spPr>
      </p:pic>
      <p:pic>
        <p:nvPicPr>
          <p:cNvPr id="57" name="Picture 57" descr="Logo, company name&#10;&#10;Description automatically generated">
            <a:extLst>
              <a:ext uri="{FF2B5EF4-FFF2-40B4-BE49-F238E27FC236}">
                <a16:creationId xmlns:a16="http://schemas.microsoft.com/office/drawing/2014/main" id="{38480C41-398A-4456-8398-8C4C6DE53B0D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t="33652" b="33492"/>
          <a:stretch/>
        </p:blipFill>
        <p:spPr>
          <a:xfrm>
            <a:off x="534639" y="1136857"/>
            <a:ext cx="2461459" cy="649426"/>
          </a:xfrm>
          <a:prstGeom prst="rect">
            <a:avLst/>
          </a:prstGeom>
        </p:spPr>
      </p:pic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7FF92E71-920E-4736-8E02-F04B046D3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406152"/>
              </p:ext>
            </p:extLst>
          </p:nvPr>
        </p:nvGraphicFramePr>
        <p:xfrm>
          <a:off x="477078" y="1913001"/>
          <a:ext cx="2455756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7878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227878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1886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477.355B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$181.46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23.24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21110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0.72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aphicFrame>
        <p:nvGraphicFramePr>
          <p:cNvPr id="31" name="Table 8">
            <a:extLst>
              <a:ext uri="{FF2B5EF4-FFF2-40B4-BE49-F238E27FC236}">
                <a16:creationId xmlns:a16="http://schemas.microsoft.com/office/drawing/2014/main" id="{123D0689-BE48-45E3-9A46-17C973EB39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114411"/>
              </p:ext>
            </p:extLst>
          </p:nvPr>
        </p:nvGraphicFramePr>
        <p:xfrm>
          <a:off x="3293600" y="1937984"/>
          <a:ext cx="2499608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9804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249804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1949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150.091B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$111.52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30.83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21945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0.75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aphicFrame>
        <p:nvGraphicFramePr>
          <p:cNvPr id="32" name="Table 8">
            <a:extLst>
              <a:ext uri="{FF2B5EF4-FFF2-40B4-BE49-F238E27FC236}">
                <a16:creationId xmlns:a16="http://schemas.microsoft.com/office/drawing/2014/main" id="{95311E04-77D6-4E9B-B940-FBE5E14785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495056"/>
              </p:ext>
            </p:extLst>
          </p:nvPr>
        </p:nvGraphicFramePr>
        <p:xfrm>
          <a:off x="6191262" y="1925492"/>
          <a:ext cx="2475660" cy="1219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37830">
                  <a:extLst>
                    <a:ext uri="{9D8B030D-6E8A-4147-A177-3AD203B41FA5}">
                      <a16:colId xmlns:a16="http://schemas.microsoft.com/office/drawing/2014/main" val="1961756993"/>
                    </a:ext>
                  </a:extLst>
                </a:gridCol>
                <a:gridCol w="1237830">
                  <a:extLst>
                    <a:ext uri="{9D8B030D-6E8A-4147-A177-3AD203B41FA5}">
                      <a16:colId xmlns:a16="http://schemas.microsoft.com/office/drawing/2014/main" val="2678843493"/>
                    </a:ext>
                  </a:extLst>
                </a:gridCol>
              </a:tblGrid>
              <a:tr h="19537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Founded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1897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3751"/>
                  </a:ext>
                </a:extLst>
              </a:tr>
              <a:tr h="182802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Market Cap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76.915B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17154"/>
                  </a:ext>
                </a:extLst>
              </a:tr>
              <a:tr h="17671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Share Pric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270.04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12385"/>
                  </a:ext>
                </a:extLst>
              </a:tr>
              <a:tr h="17671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P/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46.92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0167901"/>
                  </a:ext>
                </a:extLst>
              </a:tr>
              <a:tr h="18280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Beta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000">
                          <a:solidFill>
                            <a:srgbClr val="002060"/>
                          </a:solidFill>
                        </a:rPr>
                        <a:t>0.65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996314"/>
                  </a:ext>
                </a:extLst>
              </a:tr>
            </a:tbl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9514B80B-AD68-43BA-8836-1967AA350E1C}"/>
              </a:ext>
            </a:extLst>
          </p:cNvPr>
          <p:cNvGrpSpPr/>
          <p:nvPr/>
        </p:nvGrpSpPr>
        <p:grpSpPr>
          <a:xfrm>
            <a:off x="438090" y="3132523"/>
            <a:ext cx="2576863" cy="3320810"/>
            <a:chOff x="5723382" y="2675382"/>
            <a:chExt cx="2889504" cy="94183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C51AADC-85C7-4DA9-9BD3-2C67ECCE4959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21" name="object 23">
                <a:extLst>
                  <a:ext uri="{FF2B5EF4-FFF2-40B4-BE49-F238E27FC236}">
                    <a16:creationId xmlns:a16="http://schemas.microsoft.com/office/drawing/2014/main" id="{4769897F-31C6-47E2-A91A-E29969A93FAB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A60ABD5E-9FB8-401B-ABE8-84DA0722C6F0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24" name="object 24">
                  <a:extLst>
                    <a:ext uri="{FF2B5EF4-FFF2-40B4-BE49-F238E27FC236}">
                      <a16:creationId xmlns:a16="http://schemas.microsoft.com/office/drawing/2014/main" id="{7C78FF2F-3B63-44A2-9AE8-E47610D6F459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" name="object 25">
                  <a:extLst>
                    <a:ext uri="{FF2B5EF4-FFF2-40B4-BE49-F238E27FC236}">
                      <a16:creationId xmlns:a16="http://schemas.microsoft.com/office/drawing/2014/main" id="{ADF7844C-FFE1-4674-A712-803475F1EB15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20" name="object 93">
              <a:extLst>
                <a:ext uri="{FF2B5EF4-FFF2-40B4-BE49-F238E27FC236}">
                  <a16:creationId xmlns:a16="http://schemas.microsoft.com/office/drawing/2014/main" id="{8624F455-842B-49CC-9034-603192533E0B}"/>
                </a:ext>
              </a:extLst>
            </p:cNvPr>
            <p:cNvSpPr txBox="1"/>
            <p:nvPr/>
          </p:nvSpPr>
          <p:spPr>
            <a:xfrm>
              <a:off x="5767100" y="2696806"/>
              <a:ext cx="2731162" cy="87290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Overview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Pharmaceutical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: D</a:t>
              </a:r>
              <a:r>
                <a:rPr lang="en-US" sz="1000"/>
                <a:t>evelops and markets a wide range of synthetic and biologic drugs. JNJ’s most important therapeutic areas are Immunology drugs that treat autoimmune diseases, Oncology drugs, Neuroscience drugs, and Cardiovascular drugs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/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Medical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 </a:t>
              </a: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Devices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: S</a:t>
              </a:r>
              <a:r>
                <a:rPr lang="en-US" sz="1000"/>
                <a:t>ells a wide range of health care products, including wound care, surgical instruments and implants, hip and knee replacements, and spinal implants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/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Consumer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: Sells </a:t>
              </a:r>
              <a:r>
                <a:rPr lang="en-US" sz="1000"/>
                <a:t>a wide variety of personal care products, including over-the-counter medicines, adult skin and hair care products, baby care, oral care, first aid, women’s health, and nutritional supplements. </a:t>
              </a: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F45752D-A2FB-4B9F-B31E-EAA67CA51416}"/>
              </a:ext>
            </a:extLst>
          </p:cNvPr>
          <p:cNvGrpSpPr/>
          <p:nvPr/>
        </p:nvGrpSpPr>
        <p:grpSpPr>
          <a:xfrm>
            <a:off x="3277250" y="3132523"/>
            <a:ext cx="2576863" cy="3320809"/>
            <a:chOff x="5723382" y="2675382"/>
            <a:chExt cx="2889504" cy="94183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7BB9F3-287B-41D0-91BD-2D1A7FB0E5AB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30" name="object 23">
                <a:extLst>
                  <a:ext uri="{FF2B5EF4-FFF2-40B4-BE49-F238E27FC236}">
                    <a16:creationId xmlns:a16="http://schemas.microsoft.com/office/drawing/2014/main" id="{241035A8-DCFA-435C-9196-1BEE2422B8CF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0BEBB0CA-7A7B-41A7-AF35-5FEC632A4308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34" name="object 24">
                  <a:extLst>
                    <a:ext uri="{FF2B5EF4-FFF2-40B4-BE49-F238E27FC236}">
                      <a16:creationId xmlns:a16="http://schemas.microsoft.com/office/drawing/2014/main" id="{6680F0D5-6309-4F0F-8884-E83C4926F5C3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35" name="object 25">
                  <a:extLst>
                    <a:ext uri="{FF2B5EF4-FFF2-40B4-BE49-F238E27FC236}">
                      <a16:creationId xmlns:a16="http://schemas.microsoft.com/office/drawing/2014/main" id="{99C708A3-6B01-4116-AB61-7FEB28409649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29" name="object 93">
              <a:extLst>
                <a:ext uri="{FF2B5EF4-FFF2-40B4-BE49-F238E27FC236}">
                  <a16:creationId xmlns:a16="http://schemas.microsoft.com/office/drawing/2014/main" id="{85901183-A6A2-4934-ABE5-356CD8C6B462}"/>
                </a:ext>
              </a:extLst>
            </p:cNvPr>
            <p:cNvSpPr txBox="1"/>
            <p:nvPr/>
          </p:nvSpPr>
          <p:spPr>
            <a:xfrm>
              <a:off x="5759881" y="2698150"/>
              <a:ext cx="2731162" cy="8292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Overview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Cardiovascular</a:t>
              </a:r>
              <a:r>
                <a:rPr lang="en-US" sz="1000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: Portfolio is comprised of the 1) Cardiac Rhythm and Heart Failure (CRHF) Disease Management division, 2) Structural Heart &amp; Aortic division and the 3) Coronary &amp; Peripheral Vascular division.</a:t>
              </a:r>
            </a:p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endParaRPr lang="en-US" sz="1000" spc="-10">
                <a:solidFill>
                  <a:schemeClr val="accent1">
                    <a:lumMod val="50000"/>
                  </a:schemeClr>
                </a:solidFill>
                <a:cs typeface="Calibri"/>
              </a:endParaRP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Medical Surgical</a:t>
              </a:r>
              <a:r>
                <a:rPr lang="en-US" sz="1000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: Portfolio consists of the 1) Surgical Innovations division, and the 2) Respiratory, Gastrointestinal &amp; Renal division. 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 spc="-10">
                <a:solidFill>
                  <a:schemeClr val="accent1">
                    <a:lumMod val="50000"/>
                  </a:schemeClr>
                </a:solidFill>
                <a:cs typeface="Calibri"/>
              </a:endParaRP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Neuroscience</a:t>
              </a:r>
              <a:r>
                <a:rPr lang="en-US" sz="1000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: Portfolio is made up of the Cranial &amp; Spinal Technologies, Specialty Therapies, and Neuromodulation divisions.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 spc="-10">
                <a:solidFill>
                  <a:schemeClr val="accent1">
                    <a:lumMod val="50000"/>
                  </a:schemeClr>
                </a:solidFill>
                <a:cs typeface="Calibri"/>
              </a:endParaRP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 b="1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Diabetes</a:t>
              </a:r>
              <a:r>
                <a:rPr lang="en-US" sz="1000" spc="-10">
                  <a:solidFill>
                    <a:schemeClr val="accent1">
                      <a:lumMod val="50000"/>
                    </a:schemeClr>
                  </a:solidFill>
                  <a:cs typeface="Calibri"/>
                </a:rPr>
                <a:t>: Develops, manufactures, and markets products and services for the management of Type I and Type II diabetes.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4CBA10E-8CA0-4804-8514-E681EB0B28E9}"/>
              </a:ext>
            </a:extLst>
          </p:cNvPr>
          <p:cNvGrpSpPr/>
          <p:nvPr/>
        </p:nvGrpSpPr>
        <p:grpSpPr>
          <a:xfrm>
            <a:off x="6148076" y="3132523"/>
            <a:ext cx="2576863" cy="3320809"/>
            <a:chOff x="5723382" y="2675382"/>
            <a:chExt cx="2889504" cy="941832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DCD03B3-7D1B-4AD5-BD4A-7A29E6F695C3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39" name="object 23">
                <a:extLst>
                  <a:ext uri="{FF2B5EF4-FFF2-40B4-BE49-F238E27FC236}">
                    <a16:creationId xmlns:a16="http://schemas.microsoft.com/office/drawing/2014/main" id="{2BD16531-FB86-4FA8-8E58-4D1520753B99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40C7BDB-2FFC-46D7-AF9E-A126A09B7775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41" name="object 24">
                  <a:extLst>
                    <a:ext uri="{FF2B5EF4-FFF2-40B4-BE49-F238E27FC236}">
                      <a16:creationId xmlns:a16="http://schemas.microsoft.com/office/drawing/2014/main" id="{F0B31786-385B-4C8C-8D42-4D1B5A58FEB0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42" name="object 25">
                  <a:extLst>
                    <a:ext uri="{FF2B5EF4-FFF2-40B4-BE49-F238E27FC236}">
                      <a16:creationId xmlns:a16="http://schemas.microsoft.com/office/drawing/2014/main" id="{08B9A958-53A1-4BAB-A1B8-04F655F9AB0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38" name="object 93">
              <a:extLst>
                <a:ext uri="{FF2B5EF4-FFF2-40B4-BE49-F238E27FC236}">
                  <a16:creationId xmlns:a16="http://schemas.microsoft.com/office/drawing/2014/main" id="{96700650-B351-45E0-88A7-929B323C99E8}"/>
                </a:ext>
              </a:extLst>
            </p:cNvPr>
            <p:cNvSpPr txBox="1"/>
            <p:nvPr/>
          </p:nvSpPr>
          <p:spPr>
            <a:xfrm>
              <a:off x="5780124" y="2693044"/>
              <a:ext cx="2716155" cy="8292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Overview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A </a:t>
              </a:r>
              <a:r>
                <a:rPr lang="en-US" sz="1000" b="0" i="0">
                  <a:solidFill>
                    <a:srgbClr val="0C2552"/>
                  </a:solidFill>
                  <a:effectLst/>
                  <a:cs typeface="Calibri Light"/>
                </a:rPr>
                <a:t>global medical technology company engaged in the development, manufacture, and sale of a broad range of medical supplies, devices, laboratory equipment, and diagnostic products used by healthcare institutions, life science researchers, clinical laboratories, the pharmaceutical industry and the public. 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 b="0" i="0">
                <a:solidFill>
                  <a:srgbClr val="0C2552"/>
                </a:solidFill>
                <a:effectLst/>
                <a:cs typeface="Calibri Light"/>
              </a:endParaRP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O</a:t>
              </a:r>
              <a:r>
                <a:rPr lang="en-US" sz="1000" b="0" i="0">
                  <a:solidFill>
                    <a:srgbClr val="0C2552"/>
                  </a:solidFill>
                  <a:effectLst/>
                  <a:cs typeface="Calibri Light"/>
                </a:rPr>
                <a:t>ne of the first companies to sell U.S.-made glass syringes and is a pioneer in the production of hypodermic needles. 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endParaRPr lang="en-US" sz="1000" b="0" i="0">
                <a:solidFill>
                  <a:srgbClr val="0C2552"/>
                </a:solidFill>
                <a:effectLst/>
                <a:cs typeface="Calibri Light"/>
              </a:endParaRP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T</a:t>
              </a:r>
              <a:r>
                <a:rPr lang="en-US" sz="1000" b="0" i="0">
                  <a:solidFill>
                    <a:srgbClr val="0C2552"/>
                  </a:solidFill>
                  <a:effectLst/>
                  <a:cs typeface="Calibri Light"/>
                </a:rPr>
                <a:t>raditionally had two business segments, </a:t>
              </a:r>
              <a:r>
                <a:rPr lang="en-US" sz="1000" b="1" i="0">
                  <a:solidFill>
                    <a:srgbClr val="0C2552"/>
                  </a:solidFill>
                  <a:effectLst/>
                  <a:cs typeface="Calibri Light"/>
                </a:rPr>
                <a:t>BD Medical and BD Life Sciences,</a:t>
              </a:r>
              <a:r>
                <a:rPr lang="en-US" sz="1000" b="0" i="0">
                  <a:solidFill>
                    <a:srgbClr val="0C2552"/>
                  </a:solidFill>
                  <a:effectLst/>
                  <a:cs typeface="Calibri Light"/>
                </a:rPr>
                <a:t> until the December 2017 acquisition of C.R. Bard (BCR), after which, the company expanded to a third segment, </a:t>
              </a:r>
              <a:r>
                <a:rPr lang="en-US" sz="1000" b="1" i="0">
                  <a:solidFill>
                    <a:srgbClr val="0C2552"/>
                  </a:solidFill>
                  <a:effectLst/>
                  <a:cs typeface="Calibri Light"/>
                </a:rPr>
                <a:t>BD Interventional</a:t>
              </a:r>
              <a:r>
                <a:rPr lang="en-US" sz="1000" b="0" i="0">
                  <a:solidFill>
                    <a:srgbClr val="0C2552"/>
                  </a:solidFill>
                  <a:effectLst/>
                  <a:cs typeface="Calibri Light"/>
                </a:rPr>
                <a:t>.</a:t>
              </a:r>
              <a:endParaRPr lang="en-US" sz="1000">
                <a:solidFill>
                  <a:schemeClr val="accent1">
                    <a:lumMod val="50000"/>
                  </a:schemeClr>
                </a:solidFill>
                <a:cs typeface="Calibri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D593A989-9620-4743-AB78-F3C3D3A77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9806" y="953272"/>
            <a:ext cx="1564070" cy="868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4575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410344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56610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DB571C-B58B-4A1A-8AA4-842EDFF38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433641-6190-4C7D-A4EC-924AC490C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talysts &amp; Ri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5728D-EF40-4676-B9A9-EDB1CBA194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Capital IQ, Company Filings, &amp; Company Website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3A1847D1-C148-4427-B253-021974405FD3}"/>
              </a:ext>
            </a:extLst>
          </p:cNvPr>
          <p:cNvGrpSpPr/>
          <p:nvPr/>
        </p:nvGrpSpPr>
        <p:grpSpPr>
          <a:xfrm>
            <a:off x="529006" y="2934050"/>
            <a:ext cx="4023360" cy="941832"/>
            <a:chOff x="5723382" y="2675382"/>
            <a:chExt cx="2889504" cy="941832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266ECD88-4EE2-4BB2-892F-F65233A91D3C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26" name="object 23">
                <a:extLst>
                  <a:ext uri="{FF2B5EF4-FFF2-40B4-BE49-F238E27FC236}">
                    <a16:creationId xmlns:a16="http://schemas.microsoft.com/office/drawing/2014/main" id="{6DA91FE8-273E-401B-945A-F25AD09D383F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9E775F6A-CFC6-445A-8889-63B4EF973D48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27" name="object 24">
                  <a:extLst>
                    <a:ext uri="{FF2B5EF4-FFF2-40B4-BE49-F238E27FC236}">
                      <a16:creationId xmlns:a16="http://schemas.microsoft.com/office/drawing/2014/main" id="{24EE1C4C-7C03-43B1-A0C3-91DD1E63AD0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8" name="object 25">
                  <a:extLst>
                    <a:ext uri="{FF2B5EF4-FFF2-40B4-BE49-F238E27FC236}">
                      <a16:creationId xmlns:a16="http://schemas.microsoft.com/office/drawing/2014/main" id="{B67C63BA-582C-4BBE-8EC0-7149D42B1140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83" name="object 93">
              <a:extLst>
                <a:ext uri="{FF2B5EF4-FFF2-40B4-BE49-F238E27FC236}">
                  <a16:creationId xmlns:a16="http://schemas.microsoft.com/office/drawing/2014/main" id="{7073E87F-E0F7-4B03-A51E-8F9900CDACCE}"/>
                </a:ext>
              </a:extLst>
            </p:cNvPr>
            <p:cNvSpPr txBox="1"/>
            <p:nvPr/>
          </p:nvSpPr>
          <p:spPr>
            <a:xfrm>
              <a:off x="6194249" y="2767138"/>
              <a:ext cx="2301496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r>
                <a:rPr lang="en-US" sz="1000" b="1">
                  <a:solidFill>
                    <a:srgbClr val="0C2552"/>
                  </a:solidFill>
                  <a:latin typeface="Calibri"/>
                  <a:cs typeface="Calibri"/>
                </a:rPr>
                <a:t>Peripheral Vascular Offering </a:t>
              </a:r>
            </a:p>
            <a:p>
              <a:pPr marL="184150" marR="5080" indent="-171450">
                <a:lnSpc>
                  <a:spcPct val="100000"/>
                </a:lnSpc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latin typeface="Calibri"/>
                  <a:cs typeface="Calibri"/>
                </a:rPr>
                <a:t>Abbott’s </a:t>
              </a:r>
              <a:r>
                <a:rPr lang="en-US" sz="1000" b="1">
                  <a:solidFill>
                    <a:srgbClr val="0C2552"/>
                  </a:solidFill>
                  <a:latin typeface="Calibri"/>
                  <a:cs typeface="Calibri"/>
                </a:rPr>
                <a:t>acquisition of Walk Vascular</a:t>
              </a:r>
              <a:r>
                <a:rPr lang="en-US" sz="1000">
                  <a:solidFill>
                    <a:srgbClr val="0C2552"/>
                  </a:solidFill>
                  <a:latin typeface="Calibri"/>
                  <a:cs typeface="Calibri"/>
                </a:rPr>
                <a:t>, LLC, a medical device company with a minimally invasive thrombectomy system designed to remove peripheral blood clots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FFEAAAFC-3C73-4ED9-856F-4A60F2155650}"/>
              </a:ext>
            </a:extLst>
          </p:cNvPr>
          <p:cNvGrpSpPr/>
          <p:nvPr/>
        </p:nvGrpSpPr>
        <p:grpSpPr>
          <a:xfrm>
            <a:off x="529006" y="3979137"/>
            <a:ext cx="4023360" cy="938875"/>
            <a:chOff x="5723383" y="4367047"/>
            <a:chExt cx="2890150" cy="93887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3F535BE-DC64-461F-B105-CCDBD40B4D03}"/>
                </a:ext>
              </a:extLst>
            </p:cNvPr>
            <p:cNvGrpSpPr/>
            <p:nvPr/>
          </p:nvGrpSpPr>
          <p:grpSpPr>
            <a:xfrm>
              <a:off x="5723383" y="4367047"/>
              <a:ext cx="2890150" cy="938875"/>
              <a:chOff x="5723382" y="4367047"/>
              <a:chExt cx="3224021" cy="1565147"/>
            </a:xfrm>
          </p:grpSpPr>
          <p:sp>
            <p:nvSpPr>
              <p:cNvPr id="32" name="object 29">
                <a:extLst>
                  <a:ext uri="{FF2B5EF4-FFF2-40B4-BE49-F238E27FC236}">
                    <a16:creationId xmlns:a16="http://schemas.microsoft.com/office/drawing/2014/main" id="{35D42AB0-64E1-4DA3-9B9E-4A28EEF7D812}"/>
                  </a:ext>
                </a:extLst>
              </p:cNvPr>
              <p:cNvSpPr/>
              <p:nvPr/>
            </p:nvSpPr>
            <p:spPr>
              <a:xfrm>
                <a:off x="5723382" y="4367047"/>
                <a:ext cx="3224021" cy="1565147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30">
                <a:extLst>
                  <a:ext uri="{FF2B5EF4-FFF2-40B4-BE49-F238E27FC236}">
                    <a16:creationId xmlns:a16="http://schemas.microsoft.com/office/drawing/2014/main" id="{E00560F4-BD92-48D4-9968-EDB2C44AA667}"/>
                  </a:ext>
                </a:extLst>
              </p:cNvPr>
              <p:cNvSpPr/>
              <p:nvPr/>
            </p:nvSpPr>
            <p:spPr>
              <a:xfrm>
                <a:off x="5752719" y="4396359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4" name="object 31">
                <a:extLst>
                  <a:ext uri="{FF2B5EF4-FFF2-40B4-BE49-F238E27FC236}">
                    <a16:creationId xmlns:a16="http://schemas.microsoft.com/office/drawing/2014/main" id="{B829AA2E-07C7-494B-91AC-54AB6FD45826}"/>
                  </a:ext>
                </a:extLst>
              </p:cNvPr>
              <p:cNvSpPr/>
              <p:nvPr/>
            </p:nvSpPr>
            <p:spPr>
              <a:xfrm>
                <a:off x="5752719" y="4396359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ln w="9525">
                <a:solidFill>
                  <a:srgbClr val="8E8E8D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5" name="object 95">
              <a:extLst>
                <a:ext uri="{FF2B5EF4-FFF2-40B4-BE49-F238E27FC236}">
                  <a16:creationId xmlns:a16="http://schemas.microsoft.com/office/drawing/2014/main" id="{F55C69AE-D692-4C45-A699-088108690C32}"/>
                </a:ext>
              </a:extLst>
            </p:cNvPr>
            <p:cNvSpPr txBox="1"/>
            <p:nvPr/>
          </p:nvSpPr>
          <p:spPr>
            <a:xfrm>
              <a:off x="6190369" y="4463351"/>
              <a:ext cx="2305998" cy="76944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latin typeface="Calibri"/>
                  <a:cs typeface="Calibri"/>
                </a:rPr>
                <a:t>Diabetes Care </a:t>
              </a:r>
              <a:endParaRPr lang="en-US" sz="1000" spc="-5">
                <a:solidFill>
                  <a:srgbClr val="0C2552"/>
                </a:solidFill>
                <a:latin typeface="Calibri"/>
                <a:cs typeface="Calibri"/>
              </a:endParaRPr>
            </a:p>
            <a:p>
              <a:pPr marL="184150" marR="5080" indent="-171450">
                <a:lnSpc>
                  <a:spcPct val="100000"/>
                </a:lnSpc>
                <a:buFont typeface="Calibri" panose="020F0502020204030204" pitchFamily="34" charset="0"/>
                <a:buChar char="»"/>
              </a:pPr>
              <a:r>
                <a:rPr lang="en-US" sz="1000" spc="-5">
                  <a:solidFill>
                    <a:srgbClr val="0C2552"/>
                  </a:solidFill>
                  <a:latin typeface="Calibri"/>
                  <a:cs typeface="Calibri"/>
                </a:rPr>
                <a:t>From glucose monitoring systems to personal and professional continuous glucose monitoring devices </a:t>
              </a:r>
            </a:p>
            <a:p>
              <a:pPr marL="641350" marR="5080" lvl="1" indent="-171450">
                <a:buFont typeface="Calibri" panose="020F0502020204030204" pitchFamily="34" charset="0"/>
                <a:buChar char="»"/>
              </a:pPr>
              <a:r>
                <a:rPr lang="en-US" sz="1000" spc="-5" err="1">
                  <a:solidFill>
                    <a:srgbClr val="0C2552"/>
                  </a:solidFill>
                  <a:latin typeface="Calibri"/>
                  <a:cs typeface="Calibri"/>
                </a:rPr>
                <a:t>FreeStyle</a:t>
              </a:r>
              <a:r>
                <a:rPr lang="en-US" sz="1000" spc="-5">
                  <a:solidFill>
                    <a:srgbClr val="0C2552"/>
                  </a:solidFill>
                  <a:latin typeface="Calibri"/>
                  <a:cs typeface="Calibri"/>
                </a:rPr>
                <a:t> Family </a:t>
              </a:r>
            </a:p>
            <a:p>
              <a:pPr marL="641350" marR="5080" lvl="1" indent="-171450">
                <a:buFont typeface="Calibri" panose="020F0502020204030204" pitchFamily="34" charset="0"/>
                <a:buChar char="»"/>
              </a:pPr>
              <a:r>
                <a:rPr lang="en-US" sz="1000" spc="-5">
                  <a:solidFill>
                    <a:srgbClr val="0C2552"/>
                  </a:solidFill>
                  <a:latin typeface="Calibri"/>
                  <a:cs typeface="Calibri"/>
                </a:rPr>
                <a:t>Libre Sense</a:t>
              </a: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ED076D0-6CBF-43C6-AEBF-62B02541C6F0}"/>
              </a:ext>
            </a:extLst>
          </p:cNvPr>
          <p:cNvGrpSpPr/>
          <p:nvPr/>
        </p:nvGrpSpPr>
        <p:grpSpPr>
          <a:xfrm>
            <a:off x="529006" y="5049638"/>
            <a:ext cx="4023360" cy="941832"/>
            <a:chOff x="1475790" y="4944311"/>
            <a:chExt cx="2894226" cy="941832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14B32C0-FF18-40DA-931D-5E1FA98663DA}"/>
                </a:ext>
              </a:extLst>
            </p:cNvPr>
            <p:cNvGrpSpPr/>
            <p:nvPr/>
          </p:nvGrpSpPr>
          <p:grpSpPr>
            <a:xfrm>
              <a:off x="1475790" y="4944311"/>
              <a:ext cx="2894226" cy="941832"/>
              <a:chOff x="1475789" y="4356480"/>
              <a:chExt cx="3224021" cy="1565147"/>
            </a:xfrm>
          </p:grpSpPr>
          <p:sp>
            <p:nvSpPr>
              <p:cNvPr id="89" name="object 29">
                <a:extLst>
                  <a:ext uri="{FF2B5EF4-FFF2-40B4-BE49-F238E27FC236}">
                    <a16:creationId xmlns:a16="http://schemas.microsoft.com/office/drawing/2014/main" id="{31FC05AE-A47B-4A62-A2D3-69C64B86990A}"/>
                  </a:ext>
                </a:extLst>
              </p:cNvPr>
              <p:cNvSpPr/>
              <p:nvPr/>
            </p:nvSpPr>
            <p:spPr>
              <a:xfrm>
                <a:off x="1475789" y="4356480"/>
                <a:ext cx="3224021" cy="1565147"/>
              </a:xfrm>
              <a:prstGeom prst="rect">
                <a:avLst/>
              </a:prstGeom>
              <a:blipFill>
                <a:blip r:embed="rId4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0" name="object 30">
                <a:extLst>
                  <a:ext uri="{FF2B5EF4-FFF2-40B4-BE49-F238E27FC236}">
                    <a16:creationId xmlns:a16="http://schemas.microsoft.com/office/drawing/2014/main" id="{6533D4D4-F26C-4FC8-B9D4-0A1DBFA30BFE}"/>
                  </a:ext>
                </a:extLst>
              </p:cNvPr>
              <p:cNvSpPr/>
              <p:nvPr/>
            </p:nvSpPr>
            <p:spPr>
              <a:xfrm>
                <a:off x="1505126" y="4385792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1" name="object 31">
                <a:extLst>
                  <a:ext uri="{FF2B5EF4-FFF2-40B4-BE49-F238E27FC236}">
                    <a16:creationId xmlns:a16="http://schemas.microsoft.com/office/drawing/2014/main" id="{9EA8BA56-1536-4018-8FC9-6BC2868F9786}"/>
                  </a:ext>
                </a:extLst>
              </p:cNvPr>
              <p:cNvSpPr/>
              <p:nvPr/>
            </p:nvSpPr>
            <p:spPr>
              <a:xfrm>
                <a:off x="1505126" y="4385792"/>
                <a:ext cx="3118485" cy="1459230"/>
              </a:xfrm>
              <a:custGeom>
                <a:avLst/>
                <a:gdLst/>
                <a:ahLst/>
                <a:cxnLst/>
                <a:rect l="l" t="t" r="r" b="b"/>
                <a:pathLst>
                  <a:path w="3118484" h="1459229">
                    <a:moveTo>
                      <a:pt x="0" y="1459230"/>
                    </a:moveTo>
                    <a:lnTo>
                      <a:pt x="3118104" y="1459230"/>
                    </a:lnTo>
                    <a:lnTo>
                      <a:pt x="3118104" y="0"/>
                    </a:lnTo>
                    <a:lnTo>
                      <a:pt x="0" y="0"/>
                    </a:lnTo>
                    <a:lnTo>
                      <a:pt x="0" y="1459230"/>
                    </a:lnTo>
                    <a:close/>
                  </a:path>
                </a:pathLst>
              </a:custGeom>
              <a:ln w="9525">
                <a:solidFill>
                  <a:srgbClr val="8E8E8D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5" name="object 95">
              <a:extLst>
                <a:ext uri="{FF2B5EF4-FFF2-40B4-BE49-F238E27FC236}">
                  <a16:creationId xmlns:a16="http://schemas.microsoft.com/office/drawing/2014/main" id="{5D90BC1C-9330-4856-B942-D1AB03BA067C}"/>
                </a:ext>
              </a:extLst>
            </p:cNvPr>
            <p:cNvSpPr txBox="1"/>
            <p:nvPr/>
          </p:nvSpPr>
          <p:spPr>
            <a:xfrm>
              <a:off x="1943434" y="5016277"/>
              <a:ext cx="2309250" cy="76944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latin typeface="Calibri"/>
                  <a:cs typeface="Calibri"/>
                </a:rPr>
                <a:t>Virtual Care Growth Opportunity</a:t>
              </a:r>
            </a:p>
            <a:p>
              <a:pPr marL="184150" marR="5080" indent="-171450">
                <a:buFont typeface="Calibri" panose="020F0502020204030204" pitchFamily="34" charset="0"/>
                <a:buChar char="»"/>
              </a:pPr>
              <a:r>
                <a:rPr lang="en-US" sz="1000" spc="-5">
                  <a:solidFill>
                    <a:srgbClr val="0C2552"/>
                  </a:solidFill>
                  <a:latin typeface="Calibri"/>
                  <a:cs typeface="Calibri"/>
                </a:rPr>
                <a:t>Abbott recently launched a first-of-its-kind technology, </a:t>
              </a:r>
              <a:r>
                <a:rPr lang="en-US" sz="1000" b="1" spc="-5">
                  <a:solidFill>
                    <a:srgbClr val="0C2552"/>
                  </a:solidFill>
                  <a:latin typeface="Calibri"/>
                  <a:cs typeface="Calibri"/>
                </a:rPr>
                <a:t>Neutrosphere Virtual Clinic</a:t>
              </a:r>
              <a:r>
                <a:rPr lang="en-US" sz="1000" spc="-5">
                  <a:solidFill>
                    <a:srgbClr val="0C2552"/>
                  </a:solidFill>
                  <a:latin typeface="Calibri"/>
                  <a:cs typeface="Calibri"/>
                </a:rPr>
                <a:t>, which allows patients to communicate with physicians, ensure proper setting and functionality, and receive new treatment settings remotely</a:t>
              </a:r>
              <a:endParaRPr lang="en-US" sz="1000">
                <a:latin typeface="Calibri"/>
                <a:cs typeface="Calibri"/>
              </a:endParaRPr>
            </a:p>
          </p:txBody>
        </p:sp>
      </p:grp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99699DD-2F48-4E25-AF1E-AA8DFB37719D}"/>
              </a:ext>
            </a:extLst>
          </p:cNvPr>
          <p:cNvSpPr/>
          <p:nvPr/>
        </p:nvSpPr>
        <p:spPr>
          <a:xfrm>
            <a:off x="553317" y="1225596"/>
            <a:ext cx="3890826" cy="530908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solidFill>
                <a:srgbClr val="82B3DB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0D11D4BA-B038-430B-A0A1-16860532A175}"/>
              </a:ext>
            </a:extLst>
          </p:cNvPr>
          <p:cNvSpPr/>
          <p:nvPr/>
        </p:nvSpPr>
        <p:spPr>
          <a:xfrm>
            <a:off x="4699485" y="1225596"/>
            <a:ext cx="3890826" cy="530908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95E42428-7F24-445D-A700-5D98715E88A1}"/>
              </a:ext>
            </a:extLst>
          </p:cNvPr>
          <p:cNvSpPr txBox="1"/>
          <p:nvPr/>
        </p:nvSpPr>
        <p:spPr>
          <a:xfrm>
            <a:off x="1552326" y="1348479"/>
            <a:ext cx="1892808" cy="306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Catalyst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D60C8E2-878C-4FD2-B3DE-70487B7E218E}"/>
              </a:ext>
            </a:extLst>
          </p:cNvPr>
          <p:cNvSpPr txBox="1"/>
          <p:nvPr/>
        </p:nvSpPr>
        <p:spPr>
          <a:xfrm>
            <a:off x="5699828" y="1339151"/>
            <a:ext cx="1890140" cy="3064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Risks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739D8937-2578-4C4D-A34A-14BDF6584B10}"/>
              </a:ext>
            </a:extLst>
          </p:cNvPr>
          <p:cNvGrpSpPr/>
          <p:nvPr/>
        </p:nvGrpSpPr>
        <p:grpSpPr>
          <a:xfrm>
            <a:off x="4662874" y="1870836"/>
            <a:ext cx="4023360" cy="941832"/>
            <a:chOff x="5723382" y="2675382"/>
            <a:chExt cx="2889504" cy="941832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B90D7C83-871C-4D8E-8E96-9F2B9DFDC312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05" name="object 23">
                <a:extLst>
                  <a:ext uri="{FF2B5EF4-FFF2-40B4-BE49-F238E27FC236}">
                    <a16:creationId xmlns:a16="http://schemas.microsoft.com/office/drawing/2014/main" id="{1B063E57-503D-45F7-91C3-C87EE793D6C2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94264C30-DA1F-4F6E-80E7-BD736C2BD00A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09" name="object 24">
                  <a:extLst>
                    <a:ext uri="{FF2B5EF4-FFF2-40B4-BE49-F238E27FC236}">
                      <a16:creationId xmlns:a16="http://schemas.microsoft.com/office/drawing/2014/main" id="{BB3B68A3-462E-44ED-BB52-F3FBDCD9C681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34" name="object 25">
                  <a:extLst>
                    <a:ext uri="{FF2B5EF4-FFF2-40B4-BE49-F238E27FC236}">
                      <a16:creationId xmlns:a16="http://schemas.microsoft.com/office/drawing/2014/main" id="{FE7067C6-A3B3-4DE9-913B-EE0D751C6CAB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04" name="object 93">
              <a:extLst>
                <a:ext uri="{FF2B5EF4-FFF2-40B4-BE49-F238E27FC236}">
                  <a16:creationId xmlns:a16="http://schemas.microsoft.com/office/drawing/2014/main" id="{F9148F83-3FF3-404C-8C17-E57A11C4BBC5}"/>
                </a:ext>
              </a:extLst>
            </p:cNvPr>
            <p:cNvSpPr txBox="1"/>
            <p:nvPr/>
          </p:nvSpPr>
          <p:spPr>
            <a:xfrm>
              <a:off x="5819394" y="2767138"/>
              <a:ext cx="2322068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Abbott’s macro exposure 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To emerging markets within their pharmaceuticals business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"/>
                </a:rPr>
                <a:t>India, Brazil, Russia, China</a:t>
              </a:r>
              <a:endParaRPr lang="en-US" sz="1000">
                <a:solidFill>
                  <a:srgbClr val="0C2552"/>
                </a:solidFill>
                <a:cs typeface="Calibri Light"/>
              </a:endParaRP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02D47B46-1023-4753-81DD-FD733519B274}"/>
              </a:ext>
            </a:extLst>
          </p:cNvPr>
          <p:cNvGrpSpPr/>
          <p:nvPr/>
        </p:nvGrpSpPr>
        <p:grpSpPr>
          <a:xfrm>
            <a:off x="529006" y="1878241"/>
            <a:ext cx="4023360" cy="941832"/>
            <a:chOff x="5723382" y="2675382"/>
            <a:chExt cx="2889504" cy="941832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0DBBA415-4D08-448C-BADC-A946AE3E810D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55" name="object 23">
                <a:extLst>
                  <a:ext uri="{FF2B5EF4-FFF2-40B4-BE49-F238E27FC236}">
                    <a16:creationId xmlns:a16="http://schemas.microsoft.com/office/drawing/2014/main" id="{0AE8DF70-CFD5-46E1-8FC2-787A055892D1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9ABA3180-0872-41DF-A3B2-A7C5A7F7F793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57" name="object 24">
                  <a:extLst>
                    <a:ext uri="{FF2B5EF4-FFF2-40B4-BE49-F238E27FC236}">
                      <a16:creationId xmlns:a16="http://schemas.microsoft.com/office/drawing/2014/main" id="{C882D4B3-71EB-4C0A-92D6-56E1429746DD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58" name="object 25">
                  <a:extLst>
                    <a:ext uri="{FF2B5EF4-FFF2-40B4-BE49-F238E27FC236}">
                      <a16:creationId xmlns:a16="http://schemas.microsoft.com/office/drawing/2014/main" id="{6BC95E3A-626A-4C4E-8FFD-0DE3C486044D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54" name="object 93">
              <a:extLst>
                <a:ext uri="{FF2B5EF4-FFF2-40B4-BE49-F238E27FC236}">
                  <a16:creationId xmlns:a16="http://schemas.microsoft.com/office/drawing/2014/main" id="{19BA573A-5D6D-453B-AEE4-353C50126E04}"/>
                </a:ext>
              </a:extLst>
            </p:cNvPr>
            <p:cNvSpPr txBox="1"/>
            <p:nvPr/>
          </p:nvSpPr>
          <p:spPr>
            <a:xfrm>
              <a:off x="6194249" y="2767138"/>
              <a:ext cx="2301496" cy="76944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Structured Heart Portfolio </a:t>
              </a:r>
            </a:p>
            <a:p>
              <a:pPr marL="184150" marR="5080" indent="-171450">
                <a:lnSpc>
                  <a:spcPct val="100000"/>
                </a:lnSpc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Recent U.S. FDA approval of two key minimally invasive devices, the </a:t>
              </a:r>
              <a:r>
                <a:rPr lang="en-US" sz="1000" b="1" err="1">
                  <a:solidFill>
                    <a:srgbClr val="0C2552"/>
                  </a:solidFill>
                  <a:cs typeface="Calibri Light"/>
                </a:rPr>
                <a:t>Amplatzer</a:t>
              </a: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 Amulet 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Left Atrial Appendage (LAA) </a:t>
              </a:r>
              <a:r>
                <a:rPr lang="en-US" sz="1000" err="1">
                  <a:solidFill>
                    <a:srgbClr val="0C2552"/>
                  </a:solidFill>
                  <a:cs typeface="Calibri Light"/>
                </a:rPr>
                <a:t>Occluder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 and </a:t>
              </a:r>
              <a:r>
                <a:rPr lang="en-US" sz="1000" b="1" err="1">
                  <a:solidFill>
                    <a:srgbClr val="0C2552"/>
                  </a:solidFill>
                  <a:cs typeface="Calibri Light"/>
                </a:rPr>
                <a:t>Portcio</a:t>
              </a: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 with </a:t>
              </a:r>
              <a:r>
                <a:rPr lang="en-US" sz="1000" b="1" err="1">
                  <a:solidFill>
                    <a:srgbClr val="0C2552"/>
                  </a:solidFill>
                  <a:cs typeface="Calibri Light"/>
                </a:rPr>
                <a:t>FlexNav</a:t>
              </a:r>
              <a:r>
                <a:rPr lang="en-US" sz="1000">
                  <a:solidFill>
                    <a:srgbClr val="0C2552"/>
                  </a:solidFill>
                  <a:cs typeface="Calibri Light"/>
                </a:rPr>
                <a:t> transcatheter aortic valve replacement (TAVR) system </a:t>
              </a:r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2FF6B84-C257-4666-8908-42EC3084BD44}"/>
              </a:ext>
            </a:extLst>
          </p:cNvPr>
          <p:cNvGrpSpPr/>
          <p:nvPr/>
        </p:nvGrpSpPr>
        <p:grpSpPr>
          <a:xfrm>
            <a:off x="4662876" y="2926645"/>
            <a:ext cx="4023360" cy="941832"/>
            <a:chOff x="5723382" y="2675382"/>
            <a:chExt cx="2889504" cy="941832"/>
          </a:xfrm>
        </p:grpSpPr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6627D92-C377-4D93-8C46-169EFD979ADB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62" name="object 23">
                <a:extLst>
                  <a:ext uri="{FF2B5EF4-FFF2-40B4-BE49-F238E27FC236}">
                    <a16:creationId xmlns:a16="http://schemas.microsoft.com/office/drawing/2014/main" id="{1336DBA4-E2C0-4DE4-9607-53541BF3A621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FE6D715D-9B0D-4C19-93D3-C0073A9A60E4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64" name="object 24">
                  <a:extLst>
                    <a:ext uri="{FF2B5EF4-FFF2-40B4-BE49-F238E27FC236}">
                      <a16:creationId xmlns:a16="http://schemas.microsoft.com/office/drawing/2014/main" id="{52377B4F-DB93-4498-A85A-567ABD41D526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65" name="object 25">
                  <a:extLst>
                    <a:ext uri="{FF2B5EF4-FFF2-40B4-BE49-F238E27FC236}">
                      <a16:creationId xmlns:a16="http://schemas.microsoft.com/office/drawing/2014/main" id="{1E1FBB4F-FD36-4387-B143-1073BC50645A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61" name="object 93">
              <a:extLst>
                <a:ext uri="{FF2B5EF4-FFF2-40B4-BE49-F238E27FC236}">
                  <a16:creationId xmlns:a16="http://schemas.microsoft.com/office/drawing/2014/main" id="{EBEE1E0C-3D94-4700-B464-B74EA0EE960D}"/>
                </a:ext>
              </a:extLst>
            </p:cNvPr>
            <p:cNvSpPr txBox="1"/>
            <p:nvPr/>
          </p:nvSpPr>
          <p:spPr>
            <a:xfrm>
              <a:off x="5819394" y="2767138"/>
              <a:ext cx="2329218" cy="46166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Pipeline and new product launches disappointments</a:t>
              </a:r>
            </a:p>
            <a:p>
              <a:pPr marL="184150" marR="5080" indent="-171450"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Regulatory delays</a:t>
              </a:r>
            </a:p>
            <a:p>
              <a:pPr marL="184150" marR="5080" indent="-171450">
                <a:buClr>
                  <a:srgbClr val="0C2652"/>
                </a:buClr>
                <a:buFont typeface="Calibri Light" panose="020F0302020204030204" pitchFamily="34" charset="0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 Light"/>
                </a:rPr>
                <a:t>Weak execution</a:t>
              </a:r>
              <a:endParaRPr lang="en-US" sz="1000">
                <a:cs typeface="Calibri"/>
              </a:endParaRPr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BFF10CF2-8C5E-4F90-AF0D-C8531D772E0A}"/>
              </a:ext>
            </a:extLst>
          </p:cNvPr>
          <p:cNvGrpSpPr/>
          <p:nvPr/>
        </p:nvGrpSpPr>
        <p:grpSpPr>
          <a:xfrm>
            <a:off x="4662876" y="3968775"/>
            <a:ext cx="4023360" cy="941832"/>
            <a:chOff x="5723382" y="2675382"/>
            <a:chExt cx="2889504" cy="941832"/>
          </a:xfrm>
        </p:grpSpPr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D73C4A36-454C-4768-B4A8-07E71F20BCF2}"/>
                </a:ext>
              </a:extLst>
            </p:cNvPr>
            <p:cNvGrpSpPr/>
            <p:nvPr/>
          </p:nvGrpSpPr>
          <p:grpSpPr>
            <a:xfrm>
              <a:off x="5723382" y="2675382"/>
              <a:ext cx="2889504" cy="941832"/>
              <a:chOff x="5723382" y="2675382"/>
              <a:chExt cx="3224021" cy="1564386"/>
            </a:xfrm>
          </p:grpSpPr>
          <p:sp>
            <p:nvSpPr>
              <p:cNvPr id="175" name="object 23">
                <a:extLst>
                  <a:ext uri="{FF2B5EF4-FFF2-40B4-BE49-F238E27FC236}">
                    <a16:creationId xmlns:a16="http://schemas.microsoft.com/office/drawing/2014/main" id="{C9BAA6DF-038E-4C1E-9E7E-C938AC22F60C}"/>
                  </a:ext>
                </a:extLst>
              </p:cNvPr>
              <p:cNvSpPr/>
              <p:nvPr/>
            </p:nvSpPr>
            <p:spPr>
              <a:xfrm>
                <a:off x="5723382" y="2675382"/>
                <a:ext cx="3224021" cy="1564386"/>
              </a:xfrm>
              <a:prstGeom prst="rect">
                <a:avLst/>
              </a:prstGeom>
              <a:blipFill>
                <a:blip r:embed="rId3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CBAB25D9-4B54-4FC8-B200-9156BC16C819}"/>
                  </a:ext>
                </a:extLst>
              </p:cNvPr>
              <p:cNvGrpSpPr/>
              <p:nvPr/>
            </p:nvGrpSpPr>
            <p:grpSpPr>
              <a:xfrm>
                <a:off x="5752719" y="2704719"/>
                <a:ext cx="3118485" cy="1458595"/>
                <a:chOff x="5752719" y="2704719"/>
                <a:chExt cx="3118485" cy="1458595"/>
              </a:xfrm>
            </p:grpSpPr>
            <p:sp>
              <p:nvSpPr>
                <p:cNvPr id="177" name="object 24">
                  <a:extLst>
                    <a:ext uri="{FF2B5EF4-FFF2-40B4-BE49-F238E27FC236}">
                      <a16:creationId xmlns:a16="http://schemas.microsoft.com/office/drawing/2014/main" id="{1CDDC5F9-3650-4CD3-8372-FCADD76CDB15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178" name="object 25">
                  <a:extLst>
                    <a:ext uri="{FF2B5EF4-FFF2-40B4-BE49-F238E27FC236}">
                      <a16:creationId xmlns:a16="http://schemas.microsoft.com/office/drawing/2014/main" id="{ED7AC196-6621-48DE-9DE6-D40AAA4D6707}"/>
                    </a:ext>
                  </a:extLst>
                </p:cNvPr>
                <p:cNvSpPr/>
                <p:nvPr/>
              </p:nvSpPr>
              <p:spPr>
                <a:xfrm>
                  <a:off x="5752719" y="2704719"/>
                  <a:ext cx="3118485" cy="1458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8484" h="1458595">
                      <a:moveTo>
                        <a:pt x="0" y="1458467"/>
                      </a:moveTo>
                      <a:lnTo>
                        <a:pt x="3118104" y="1458467"/>
                      </a:lnTo>
                      <a:lnTo>
                        <a:pt x="3118104" y="0"/>
                      </a:lnTo>
                      <a:lnTo>
                        <a:pt x="0" y="0"/>
                      </a:lnTo>
                      <a:lnTo>
                        <a:pt x="0" y="1458467"/>
                      </a:lnTo>
                      <a:close/>
                    </a:path>
                  </a:pathLst>
                </a:custGeom>
                <a:ln w="9525">
                  <a:solidFill>
                    <a:srgbClr val="8E8E8D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74" name="object 93">
              <a:extLst>
                <a:ext uri="{FF2B5EF4-FFF2-40B4-BE49-F238E27FC236}">
                  <a16:creationId xmlns:a16="http://schemas.microsoft.com/office/drawing/2014/main" id="{DCF1F243-2DC8-4436-A6E9-44E53B63C0D1}"/>
                </a:ext>
              </a:extLst>
            </p:cNvPr>
            <p:cNvSpPr txBox="1"/>
            <p:nvPr/>
          </p:nvSpPr>
          <p:spPr>
            <a:xfrm>
              <a:off x="5819394" y="2767138"/>
              <a:ext cx="2329218" cy="76944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0C2652"/>
                </a:buClr>
              </a:pPr>
              <a:r>
                <a:rPr lang="en-US" sz="1000" b="1">
                  <a:solidFill>
                    <a:srgbClr val="0C2552"/>
                  </a:solidFill>
                  <a:cs typeface="Calibri Light"/>
                </a:rPr>
                <a:t>Rapid decrease in COVID-19 related testing</a:t>
              </a:r>
            </a:p>
            <a:p>
              <a:pPr marL="184150" marR="5080" indent="-171450">
                <a:buClr>
                  <a:srgbClr val="0C2652"/>
                </a:buClr>
                <a:buFont typeface="Calibri Light,Sans-Serif"/>
                <a:buChar char="»"/>
              </a:pPr>
              <a:r>
                <a:rPr lang="en-US" sz="1000">
                  <a:solidFill>
                    <a:srgbClr val="0C2552"/>
                  </a:solidFill>
                  <a:ea typeface="+mn-lt"/>
                  <a:cs typeface="+mn-lt"/>
                </a:rPr>
                <a:t>Their $5 BinaxNOW antigen test helps people determine if they have COVID-19 within 15 minutes</a:t>
              </a:r>
              <a:endParaRPr lang="en-US" sz="1000">
                <a:solidFill>
                  <a:srgbClr val="000000"/>
                </a:solidFill>
                <a:ea typeface="+mn-lt"/>
                <a:cs typeface="+mn-lt"/>
              </a:endParaRPr>
            </a:p>
            <a:p>
              <a:pPr marL="184150" marR="5080" indent="-171450">
                <a:buClr>
                  <a:srgbClr val="0C2652"/>
                </a:buClr>
                <a:buFont typeface="Calibri Light,Sans-Serif"/>
                <a:buChar char="»"/>
              </a:pPr>
              <a:r>
                <a:rPr lang="en-US" sz="1000">
                  <a:solidFill>
                    <a:srgbClr val="0C2552"/>
                  </a:solidFill>
                  <a:cs typeface="Calibri"/>
                </a:rPr>
                <a:t>Bottom line revenues for this could be affected as a result of the decline of COVID-19 testing</a:t>
              </a: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8D63A1B-DE28-4F7D-B862-621678124AFB}"/>
              </a:ext>
            </a:extLst>
          </p:cNvPr>
          <p:cNvSpPr/>
          <p:nvPr/>
        </p:nvSpPr>
        <p:spPr>
          <a:xfrm>
            <a:off x="569572" y="1901311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pic>
        <p:nvPicPr>
          <p:cNvPr id="1028" name="Picture 4" descr="Structural Heart Disease, Disease, Germ Icon With Png And Vector - Heart  Disease Clipart – Stunning free transparent png clipart images free download">
            <a:extLst>
              <a:ext uri="{FF2B5EF4-FFF2-40B4-BE49-F238E27FC236}">
                <a16:creationId xmlns:a16="http://schemas.microsoft.com/office/drawing/2014/main" id="{08ECDEB7-6A88-4597-8927-B76CB8A3D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48897" y1="14054" x2="48897" y2="14054"/>
                        <a14:foregroundMark x1="60662" y1="44865" x2="60662" y2="448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639" y="2033478"/>
            <a:ext cx="551366" cy="608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2D5CECF-9D1A-448B-9BBC-4CD6C733A597}"/>
              </a:ext>
            </a:extLst>
          </p:cNvPr>
          <p:cNvSpPr txBox="1"/>
          <p:nvPr/>
        </p:nvSpPr>
        <p:spPr>
          <a:xfrm>
            <a:off x="4119441" y="2979922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E0D66E-28B9-46BF-B1A6-CB8F40BEB087}"/>
              </a:ext>
            </a:extLst>
          </p:cNvPr>
          <p:cNvSpPr txBox="1"/>
          <p:nvPr/>
        </p:nvSpPr>
        <p:spPr>
          <a:xfrm>
            <a:off x="4119441" y="2979922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000280-553B-4D56-87E0-871AE0198715}"/>
              </a:ext>
            </a:extLst>
          </p:cNvPr>
          <p:cNvSpPr txBox="1"/>
          <p:nvPr/>
        </p:nvSpPr>
        <p:spPr>
          <a:xfrm>
            <a:off x="864699" y="2133483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US" sz="1000" err="1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DAF1A4-4141-4138-94B2-5B9E80019E5B}"/>
              </a:ext>
            </a:extLst>
          </p:cNvPr>
          <p:cNvSpPr/>
          <p:nvPr/>
        </p:nvSpPr>
        <p:spPr>
          <a:xfrm>
            <a:off x="8034799" y="1895049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pic>
        <p:nvPicPr>
          <p:cNvPr id="1030" name="Picture 6" descr="Economics Icons - Download Free Vector Icons | Noun Project">
            <a:extLst>
              <a:ext uri="{FF2B5EF4-FFF2-40B4-BE49-F238E27FC236}">
                <a16:creationId xmlns:a16="http://schemas.microsoft.com/office/drawing/2014/main" id="{247B639E-A01C-4228-86ED-24C7B9613B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778" y="2033477"/>
            <a:ext cx="548640" cy="627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C1F68F78-525C-4736-82D0-D93FF4C5D0D1}"/>
              </a:ext>
            </a:extLst>
          </p:cNvPr>
          <p:cNvSpPr/>
          <p:nvPr/>
        </p:nvSpPr>
        <p:spPr>
          <a:xfrm>
            <a:off x="572419" y="2961352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82B3DB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7E5A8A1-C7EE-4CF4-A6E4-70DC5A8F9E2C}"/>
              </a:ext>
            </a:extLst>
          </p:cNvPr>
          <p:cNvSpPr/>
          <p:nvPr/>
        </p:nvSpPr>
        <p:spPr>
          <a:xfrm>
            <a:off x="573224" y="4005086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EDF06D8-BF40-4F2D-85AB-A700E2092C86}"/>
              </a:ext>
            </a:extLst>
          </p:cNvPr>
          <p:cNvSpPr/>
          <p:nvPr/>
        </p:nvSpPr>
        <p:spPr>
          <a:xfrm>
            <a:off x="569094" y="5076776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71BE3FE-A3C4-4308-9A9F-B3940C50E77C}"/>
              </a:ext>
            </a:extLst>
          </p:cNvPr>
          <p:cNvSpPr/>
          <p:nvPr/>
        </p:nvSpPr>
        <p:spPr>
          <a:xfrm>
            <a:off x="8034799" y="2947044"/>
            <a:ext cx="55136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7B75B17-C056-479F-8474-4A5F832D2345}"/>
              </a:ext>
            </a:extLst>
          </p:cNvPr>
          <p:cNvSpPr/>
          <p:nvPr/>
        </p:nvSpPr>
        <p:spPr>
          <a:xfrm>
            <a:off x="8033619" y="3987868"/>
            <a:ext cx="553726" cy="86503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err="1">
              <a:solidFill>
                <a:srgbClr val="0F2F45"/>
              </a:solidFill>
            </a:endParaRPr>
          </a:p>
        </p:txBody>
      </p:sp>
      <p:pic>
        <p:nvPicPr>
          <p:cNvPr id="1032" name="Picture 8" descr="Vascular Icon Images, Stock Photos &amp;amp; Vectors | Shutterstock">
            <a:extLst>
              <a:ext uri="{FF2B5EF4-FFF2-40B4-BE49-F238E27FC236}">
                <a16:creationId xmlns:a16="http://schemas.microsoft.com/office/drawing/2014/main" id="{2B2D58B9-B69C-48DE-A34E-C5DE907C6C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286" b="83572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7143"/>
          <a:stretch/>
        </p:blipFill>
        <p:spPr bwMode="auto">
          <a:xfrm>
            <a:off x="524026" y="3065466"/>
            <a:ext cx="642068" cy="61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omputer Icons Science Microscope Research Laboratory, research, angle,  text png | PNGEgg">
            <a:extLst>
              <a:ext uri="{FF2B5EF4-FFF2-40B4-BE49-F238E27FC236}">
                <a16:creationId xmlns:a16="http://schemas.microsoft.com/office/drawing/2014/main" id="{66C5592D-1849-476E-91BD-F4E68305C9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52667" y1="45111" x2="52667" y2="451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498" y="3062334"/>
            <a:ext cx="538117" cy="61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ealth app, healthcare app, medical app, mobile, mobile app icon - Download  on Iconfinder">
            <a:extLst>
              <a:ext uri="{FF2B5EF4-FFF2-40B4-BE49-F238E27FC236}">
                <a16:creationId xmlns:a16="http://schemas.microsoft.com/office/drawing/2014/main" id="{B41533EC-24B8-4EE1-923E-502B5C5F3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16" y="4164638"/>
            <a:ext cx="543963" cy="537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phic 10" descr="Social network with solid fill">
            <a:extLst>
              <a:ext uri="{FF2B5EF4-FFF2-40B4-BE49-F238E27FC236}">
                <a16:creationId xmlns:a16="http://schemas.microsoft.com/office/drawing/2014/main" id="{21BC5C65-A1D6-441A-A255-E9D5AC892AD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4421" y="5218385"/>
            <a:ext cx="585953" cy="612230"/>
          </a:xfrm>
          <a:prstGeom prst="rect">
            <a:avLst/>
          </a:prstGeom>
        </p:spPr>
      </p:pic>
      <p:pic>
        <p:nvPicPr>
          <p:cNvPr id="11" name="Graphic 11" descr="Downward trend graph with solid fill">
            <a:extLst>
              <a:ext uri="{FF2B5EF4-FFF2-40B4-BE49-F238E27FC236}">
                <a16:creationId xmlns:a16="http://schemas.microsoft.com/office/drawing/2014/main" id="{73ADDF8A-4234-4C67-8D23-C711F5FF94C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43041" y="4127938"/>
            <a:ext cx="546539" cy="55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77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1756675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2610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40BBD6-CE2C-4A46-B9EB-D933FED336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FC812E-C17E-4A29-84D1-D4EA484C5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vestment Ration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22389B-EB9F-4A30-94D1-8465F5D84A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Market Watch, Fitch Ratings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7DA6D9D-3189-4B47-B813-80F9556C7084}"/>
              </a:ext>
            </a:extLst>
          </p:cNvPr>
          <p:cNvSpPr/>
          <p:nvPr/>
        </p:nvSpPr>
        <p:spPr>
          <a:xfrm rot="21097755">
            <a:off x="-659774" y="881527"/>
            <a:ext cx="3393363" cy="5329006"/>
          </a:xfrm>
          <a:custGeom>
            <a:avLst/>
            <a:gdLst>
              <a:gd name="connsiteX0" fmla="*/ 1477449 w 3182112"/>
              <a:gd name="connsiteY0" fmla="*/ 586218 h 3886200"/>
              <a:gd name="connsiteX1" fmla="*/ 39588 w 3182112"/>
              <a:gd name="connsiteY1" fmla="*/ 2050582 h 3886200"/>
              <a:gd name="connsiteX2" fmla="*/ 1477449 w 3182112"/>
              <a:gd name="connsiteY2" fmla="*/ 3514946 h 3886200"/>
              <a:gd name="connsiteX3" fmla="*/ 2915310 w 3182112"/>
              <a:gd name="connsiteY3" fmla="*/ 2050582 h 3886200"/>
              <a:gd name="connsiteX4" fmla="*/ 1477449 w 3182112"/>
              <a:gd name="connsiteY4" fmla="*/ 586218 h 3886200"/>
              <a:gd name="connsiteX5" fmla="*/ 1270217 w 3182112"/>
              <a:gd name="connsiteY5" fmla="*/ 0 h 3886200"/>
              <a:gd name="connsiteX6" fmla="*/ 3182112 w 3182112"/>
              <a:gd name="connsiteY6" fmla="*/ 1943100 h 3886200"/>
              <a:gd name="connsiteX7" fmla="*/ 1270217 w 3182112"/>
              <a:gd name="connsiteY7" fmla="*/ 3886200 h 3886200"/>
              <a:gd name="connsiteX8" fmla="*/ 54075 w 3182112"/>
              <a:gd name="connsiteY8" fmla="*/ 3442491 h 3886200"/>
              <a:gd name="connsiteX9" fmla="*/ 0 w 3182112"/>
              <a:gd name="connsiteY9" fmla="*/ 3392543 h 3886200"/>
              <a:gd name="connsiteX10" fmla="*/ 0 w 3182112"/>
              <a:gd name="connsiteY10" fmla="*/ 493657 h 3886200"/>
              <a:gd name="connsiteX11" fmla="*/ 54075 w 3182112"/>
              <a:gd name="connsiteY11" fmla="*/ 443709 h 3886200"/>
              <a:gd name="connsiteX12" fmla="*/ 1270217 w 3182112"/>
              <a:gd name="connsiteY12" fmla="*/ 0 h 388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82112" h="3886200">
                <a:moveTo>
                  <a:pt x="1477449" y="586218"/>
                </a:moveTo>
                <a:cubicBezTo>
                  <a:pt x="683340" y="586218"/>
                  <a:pt x="39588" y="1241836"/>
                  <a:pt x="39588" y="2050582"/>
                </a:cubicBezTo>
                <a:cubicBezTo>
                  <a:pt x="39588" y="2859328"/>
                  <a:pt x="683340" y="3514946"/>
                  <a:pt x="1477449" y="3514946"/>
                </a:cubicBezTo>
                <a:cubicBezTo>
                  <a:pt x="2271558" y="3514946"/>
                  <a:pt x="2915310" y="2859328"/>
                  <a:pt x="2915310" y="2050582"/>
                </a:cubicBezTo>
                <a:cubicBezTo>
                  <a:pt x="2915310" y="1241836"/>
                  <a:pt x="2271558" y="586218"/>
                  <a:pt x="1477449" y="586218"/>
                </a:cubicBezTo>
                <a:close/>
                <a:moveTo>
                  <a:pt x="1270217" y="0"/>
                </a:moveTo>
                <a:cubicBezTo>
                  <a:pt x="2326128" y="0"/>
                  <a:pt x="3182112" y="869955"/>
                  <a:pt x="3182112" y="1943100"/>
                </a:cubicBezTo>
                <a:cubicBezTo>
                  <a:pt x="3182112" y="3016245"/>
                  <a:pt x="2326128" y="3886200"/>
                  <a:pt x="1270217" y="3886200"/>
                </a:cubicBezTo>
                <a:cubicBezTo>
                  <a:pt x="808256" y="3886200"/>
                  <a:pt x="384562" y="3719686"/>
                  <a:pt x="54075" y="3442491"/>
                </a:cubicBezTo>
                <a:lnTo>
                  <a:pt x="0" y="3392543"/>
                </a:lnTo>
                <a:lnTo>
                  <a:pt x="0" y="493657"/>
                </a:lnTo>
                <a:lnTo>
                  <a:pt x="54075" y="443709"/>
                </a:lnTo>
                <a:cubicBezTo>
                  <a:pt x="384562" y="166515"/>
                  <a:pt x="808256" y="0"/>
                  <a:pt x="1270217" y="0"/>
                </a:cubicBezTo>
                <a:close/>
              </a:path>
            </a:pathLst>
          </a:cu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368BA-13BC-48B2-8E1F-7A5F7B705E6C}"/>
              </a:ext>
            </a:extLst>
          </p:cNvPr>
          <p:cNvSpPr/>
          <p:nvPr/>
        </p:nvSpPr>
        <p:spPr>
          <a:xfrm>
            <a:off x="1909023" y="4901372"/>
            <a:ext cx="6981184" cy="1008941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1100" b="1">
              <a:solidFill>
                <a:srgbClr val="0C2652"/>
              </a:solidFill>
              <a:ea typeface="+mn-lt"/>
              <a:cs typeface="+mn-lt"/>
            </a:endParaRPr>
          </a:p>
          <a:p>
            <a:pPr>
              <a:defRPr/>
            </a:pPr>
            <a:endParaRPr lang="en-US" sz="1100" b="1">
              <a:solidFill>
                <a:srgbClr val="0C2652"/>
              </a:solidFill>
              <a:ea typeface="+mn-lt"/>
              <a:cs typeface="+mn-lt"/>
            </a:endParaRPr>
          </a:p>
          <a:p>
            <a:pPr>
              <a:defRPr/>
            </a:pPr>
            <a:r>
              <a:rPr lang="en-US" sz="1100" b="1">
                <a:solidFill>
                  <a:srgbClr val="0C2652"/>
                </a:solidFill>
                <a:ea typeface="+mn-lt"/>
                <a:cs typeface="+mn-lt"/>
              </a:rPr>
              <a:t>Product Pipeline</a:t>
            </a:r>
            <a:endParaRPr lang="en-US"/>
          </a:p>
          <a:p>
            <a:pPr marL="171450" indent="-171450" defTabSz="820199">
              <a:lnSpc>
                <a:spcPct val="90000"/>
              </a:lnSpc>
              <a:buFont typeface="Calibri,Sans-Serif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FDA extends expiration date to 15 months for </a:t>
            </a:r>
            <a:r>
              <a:rPr lang="en-US" sz="1000" kern="0" err="1">
                <a:ea typeface="+mn-lt"/>
                <a:cs typeface="+mn-lt"/>
              </a:rPr>
              <a:t>BinaxNow</a:t>
            </a:r>
            <a:r>
              <a:rPr lang="en-US" sz="1000" kern="0">
                <a:ea typeface="+mn-lt"/>
                <a:cs typeface="+mn-lt"/>
              </a:rPr>
              <a:t> Ag Card Home Test</a:t>
            </a:r>
          </a:p>
          <a:p>
            <a:pPr marL="171450" indent="-171450" defTabSz="820199">
              <a:lnSpc>
                <a:spcPct val="90000"/>
              </a:lnSpc>
              <a:buFont typeface="Calibri,Sans-Serif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Received FDA clearance for new cardiac mapping system EnSite that improves how doctors treat abnormal heart rhythms</a:t>
            </a:r>
          </a:p>
          <a:p>
            <a:pPr marL="171450" indent="-171450" defTabSz="820199">
              <a:lnSpc>
                <a:spcPct val="90000"/>
              </a:lnSpc>
              <a:buFont typeface="Calibri,Sans-Serif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Developing a new category of </a:t>
            </a:r>
            <a:r>
              <a:rPr lang="en-US" sz="1000" kern="0" err="1">
                <a:ea typeface="+mn-lt"/>
                <a:cs typeface="+mn-lt"/>
              </a:rPr>
              <a:t>biowearables</a:t>
            </a:r>
            <a:r>
              <a:rPr lang="en-US" sz="1000" kern="0">
                <a:ea typeface="+mn-lt"/>
                <a:cs typeface="+mn-lt"/>
              </a:rPr>
              <a:t> called Lingo that track and measure your general health and wellness</a:t>
            </a:r>
          </a:p>
          <a:p>
            <a:pPr marL="171450" indent="-171450" defTabSz="820199">
              <a:lnSpc>
                <a:spcPct val="90000"/>
              </a:lnSpc>
              <a:buFont typeface="'Wingdings 3',Sans-Serif"/>
              <a:buChar char="ê"/>
              <a:defRPr/>
            </a:pPr>
            <a:endParaRPr lang="en-US" sz="1000" kern="0">
              <a:cs typeface="Calibri"/>
            </a:endParaRPr>
          </a:p>
          <a:p>
            <a:pPr marL="171450" indent="-171450" defTabSz="820199">
              <a:lnSpc>
                <a:spcPct val="90000"/>
              </a:lnSpc>
              <a:buFont typeface="'Wingdings 3',Sans-Serif"/>
              <a:buChar char="ê"/>
              <a:defRPr/>
            </a:pPr>
            <a:endParaRPr lang="en-US" sz="900" kern="0">
              <a:ea typeface="+mn-lt"/>
              <a:cs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5B559E-F527-4743-9C86-9D2476373C73}"/>
              </a:ext>
            </a:extLst>
          </p:cNvPr>
          <p:cNvSpPr/>
          <p:nvPr/>
        </p:nvSpPr>
        <p:spPr>
          <a:xfrm>
            <a:off x="2465070" y="2148836"/>
            <a:ext cx="6421610" cy="1066796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0C2652"/>
                </a:solidFill>
                <a:cs typeface="Calibri"/>
              </a:rPr>
              <a:t>Diagnostics Growth</a:t>
            </a:r>
          </a:p>
          <a:p>
            <a:pPr marL="171450" indent="-171450" defTabSz="820199">
              <a:lnSpc>
                <a:spcPct val="90000"/>
              </a:lnSpc>
              <a:buClr>
                <a:srgbClr val="6C6C6B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Over the past year, COVID has been a large growth driver for Abbott, and still is after reporting $2 billion in sales for COVID tests</a:t>
            </a:r>
            <a:endParaRPr lang="en-US" sz="1000">
              <a:cs typeface="Calibri"/>
            </a:endParaRPr>
          </a:p>
          <a:p>
            <a:pPr marL="171450" indent="-171450" defTabSz="820199">
              <a:lnSpc>
                <a:spcPct val="90000"/>
              </a:lnSpc>
              <a:buClr>
                <a:srgbClr val="6C6C6B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It remains attractive, as the non-COVID areas of the business have steadily grown as well</a:t>
            </a:r>
          </a:p>
          <a:p>
            <a:pPr marL="171450" indent="-171450" defTabSz="820199">
              <a:lnSpc>
                <a:spcPct val="90000"/>
              </a:lnSpc>
              <a:buClr>
                <a:srgbClr val="6C6C6B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Excluding COVID testing, molecular diagnostics revenue grew 15% YOY</a:t>
            </a:r>
            <a:endParaRPr lang="en-US">
              <a:cs typeface="Calibri"/>
            </a:endParaRP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Generic drugs enjoyed strong sales internationally, namely in China, India, and Russia</a:t>
            </a:r>
          </a:p>
          <a:p>
            <a:pPr marL="171450" indent="-171450" defTabSz="820199">
              <a:lnSpc>
                <a:spcPct val="90000"/>
              </a:lnSpc>
              <a:buClr>
                <a:srgbClr val="6C6C6B"/>
              </a:buClr>
              <a:buFont typeface="Wingdings 3" panose="05040102010807070707" pitchFamily="18" charset="2"/>
              <a:buChar char="ê"/>
              <a:defRPr/>
            </a:pPr>
            <a:endParaRPr lang="en-US" sz="850" kern="0">
              <a:cs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D868F7-6CD6-45C0-B3EC-7B95C60B8F7D}"/>
              </a:ext>
            </a:extLst>
          </p:cNvPr>
          <p:cNvSpPr/>
          <p:nvPr/>
        </p:nvSpPr>
        <p:spPr>
          <a:xfrm>
            <a:off x="2646680" y="3534119"/>
            <a:ext cx="6254516" cy="1043174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0C2652"/>
                </a:solidFill>
                <a:cs typeface="Calibri"/>
              </a:rPr>
              <a:t>Medical Devices</a:t>
            </a: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Sales soared 18.5% from pre-pandemic levels in 2019, increased by 5% internationally </a:t>
            </a: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Abbott's </a:t>
            </a:r>
            <a:r>
              <a:rPr lang="en-US" sz="1000" kern="0" err="1">
                <a:ea typeface="+mn-lt"/>
                <a:cs typeface="+mn-lt"/>
              </a:rPr>
              <a:t>FreeStyle</a:t>
            </a:r>
            <a:r>
              <a:rPr lang="en-US" sz="1000" kern="0">
                <a:ea typeface="+mn-lt"/>
                <a:cs typeface="+mn-lt"/>
              </a:rPr>
              <a:t> Libre and Libre Sense diabetes devices had Q3 sales of $1 billion, up 41.6% YOY</a:t>
            </a: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Recently won FDA approval for a new stroke-prevention device in August</a:t>
            </a: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FDA approval for new aortic valve replacement system to help patients with a high risk of requiring open heart surgery</a:t>
            </a:r>
          </a:p>
          <a:p>
            <a:pPr marL="171450" indent="-171450" defTabSz="820199">
              <a:lnSpc>
                <a:spcPct val="90000"/>
              </a:lnSpc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ea typeface="+mn-lt"/>
                <a:cs typeface="+mn-lt"/>
              </a:rPr>
              <a:t>Acquired Walk Vascular in Q3, great fit for Abbott's vascular medical devices business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398F2C-7C44-43F5-B601-660590383022}"/>
              </a:ext>
            </a:extLst>
          </p:cNvPr>
          <p:cNvSpPr/>
          <p:nvPr/>
        </p:nvSpPr>
        <p:spPr>
          <a:xfrm>
            <a:off x="2066829" y="1013692"/>
            <a:ext cx="6819851" cy="957051"/>
          </a:xfrm>
          <a:prstGeom prst="rect">
            <a:avLst/>
          </a:prstGeom>
          <a:solidFill>
            <a:srgbClr val="F2F2F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540000" tIns="36000" rIns="10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100" b="1">
                <a:solidFill>
                  <a:srgbClr val="0C2652"/>
                </a:solidFill>
                <a:cs typeface="Calibri"/>
              </a:rPr>
              <a:t>Optimistic Q4 Earnings</a:t>
            </a:r>
          </a:p>
          <a:p>
            <a:pPr marL="171450" indent="-171450" defTabSz="820199">
              <a:lnSpc>
                <a:spcPct val="90000"/>
              </a:lnSpc>
              <a:buClr>
                <a:schemeClr val="tx1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cs typeface="Calibri"/>
              </a:rPr>
              <a:t>Multiple areas of the company beat Q4 earnings predictions</a:t>
            </a:r>
          </a:p>
          <a:p>
            <a:pPr marL="171450" indent="-171450" defTabSz="820199">
              <a:lnSpc>
                <a:spcPct val="90000"/>
              </a:lnSpc>
              <a:buClr>
                <a:schemeClr val="tx1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cs typeface="Calibri"/>
              </a:rPr>
              <a:t>Reported EPS of $1.32 and revenue of $11.5 billion</a:t>
            </a:r>
          </a:p>
          <a:p>
            <a:pPr marL="171450" indent="-171450" defTabSz="820199">
              <a:lnSpc>
                <a:spcPct val="90000"/>
              </a:lnSpc>
              <a:buClr>
                <a:schemeClr val="tx1"/>
              </a:buClr>
              <a:buFont typeface="Calibri" panose="020F0502020204030204" pitchFamily="34" charset="0"/>
              <a:buChar char="»"/>
              <a:defRPr/>
            </a:pPr>
            <a:r>
              <a:rPr lang="en-US" sz="1000" kern="0">
                <a:cs typeface="Calibri"/>
              </a:rPr>
              <a:t>Since Q4 2020, Total Sales grew 15.6%: Nutrition 10.4%, Diagnostics 20.5%, and Medical Devices 12.3% in the US</a:t>
            </a:r>
          </a:p>
        </p:txBody>
      </p:sp>
      <p:grpSp>
        <p:nvGrpSpPr>
          <p:cNvPr id="15" name="Gruppieren 128">
            <a:extLst>
              <a:ext uri="{FF2B5EF4-FFF2-40B4-BE49-F238E27FC236}">
                <a16:creationId xmlns:a16="http://schemas.microsoft.com/office/drawing/2014/main" id="{76E7057E-C556-4FA4-B4BB-43D2A7879C02}"/>
              </a:ext>
            </a:extLst>
          </p:cNvPr>
          <p:cNvGrpSpPr/>
          <p:nvPr/>
        </p:nvGrpSpPr>
        <p:grpSpPr>
          <a:xfrm>
            <a:off x="1758815" y="2145900"/>
            <a:ext cx="1112516" cy="1066627"/>
            <a:chOff x="1072498" y="2146320"/>
            <a:chExt cx="784158" cy="784157"/>
          </a:xfrm>
        </p:grpSpPr>
        <p:sp>
          <p:nvSpPr>
            <p:cNvPr id="56" name="Oval 136">
              <a:extLst>
                <a:ext uri="{FF2B5EF4-FFF2-40B4-BE49-F238E27FC236}">
                  <a16:creationId xmlns:a16="http://schemas.microsoft.com/office/drawing/2014/main" id="{6D3FB654-A790-405E-B8D5-FDC9143D94F0}"/>
                </a:ext>
              </a:extLst>
            </p:cNvPr>
            <p:cNvSpPr/>
            <p:nvPr/>
          </p:nvSpPr>
          <p:spPr>
            <a:xfrm>
              <a:off x="1072498" y="2146320"/>
              <a:ext cx="784158" cy="78415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  <a:defRPr/>
              </a:pPr>
              <a:r>
                <a:rPr lang="de-DE" sz="2800" b="1" kern="0">
                  <a:solidFill>
                    <a:schemeClr val="tx2"/>
                  </a:solidFill>
                  <a:latin typeface="Calibri Light" panose="020F0302020204030204" pitchFamily="34" charset="0"/>
                </a:rPr>
                <a:t>2</a:t>
              </a:r>
              <a:endParaRPr lang="en-US" sz="2800" b="1" kern="0">
                <a:solidFill>
                  <a:schemeClr val="tx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7" name="Tints arc">
              <a:extLst>
                <a:ext uri="{FF2B5EF4-FFF2-40B4-BE49-F238E27FC236}">
                  <a16:creationId xmlns:a16="http://schemas.microsoft.com/office/drawing/2014/main" id="{0E4DFE24-395F-42B9-9757-A10F505C28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8" name="Tints arc">
              <a:extLst>
                <a:ext uri="{FF2B5EF4-FFF2-40B4-BE49-F238E27FC236}">
                  <a16:creationId xmlns:a16="http://schemas.microsoft.com/office/drawing/2014/main" id="{36C1AF91-D6CF-4CC2-A3A7-CEB5C13D05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9" name="Tints arc">
              <a:extLst>
                <a:ext uri="{FF2B5EF4-FFF2-40B4-BE49-F238E27FC236}">
                  <a16:creationId xmlns:a16="http://schemas.microsoft.com/office/drawing/2014/main" id="{458BDB28-F56B-4902-9EFE-303B9C6F35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31E8941-255F-4DA1-B113-5DAD3575E35A}"/>
              </a:ext>
            </a:extLst>
          </p:cNvPr>
          <p:cNvGrpSpPr/>
          <p:nvPr/>
        </p:nvGrpSpPr>
        <p:grpSpPr>
          <a:xfrm>
            <a:off x="1909023" y="3509932"/>
            <a:ext cx="1115568" cy="1069848"/>
            <a:chOff x="2818364" y="3263839"/>
            <a:chExt cx="865839" cy="865839"/>
          </a:xfrm>
        </p:grpSpPr>
        <p:sp>
          <p:nvSpPr>
            <p:cNvPr id="52" name="Oval 136">
              <a:extLst>
                <a:ext uri="{FF2B5EF4-FFF2-40B4-BE49-F238E27FC236}">
                  <a16:creationId xmlns:a16="http://schemas.microsoft.com/office/drawing/2014/main" id="{E3A5455C-9897-493A-AA97-A8D7CDE44A3A}"/>
                </a:ext>
              </a:extLst>
            </p:cNvPr>
            <p:cNvSpPr/>
            <p:nvPr/>
          </p:nvSpPr>
          <p:spPr>
            <a:xfrm>
              <a:off x="2818364" y="3263839"/>
              <a:ext cx="865839" cy="86583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  <a:defRPr/>
              </a:pPr>
              <a:r>
                <a:rPr lang="de-DE" sz="2800" b="1" kern="0">
                  <a:solidFill>
                    <a:schemeClr val="tx2"/>
                  </a:solidFill>
                  <a:latin typeface="Calibri Light" panose="020F0302020204030204" pitchFamily="34" charset="0"/>
                  <a:cs typeface="Calibri Light"/>
                </a:rPr>
                <a:t>3</a:t>
              </a:r>
            </a:p>
          </p:txBody>
        </p:sp>
        <p:sp>
          <p:nvSpPr>
            <p:cNvPr id="53" name="Tints arc">
              <a:extLst>
                <a:ext uri="{FF2B5EF4-FFF2-40B4-BE49-F238E27FC236}">
                  <a16:creationId xmlns:a16="http://schemas.microsoft.com/office/drawing/2014/main" id="{37C026EE-26C0-408A-8670-7ADD078A5D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4" name="Tints arc">
              <a:extLst>
                <a:ext uri="{FF2B5EF4-FFF2-40B4-BE49-F238E27FC236}">
                  <a16:creationId xmlns:a16="http://schemas.microsoft.com/office/drawing/2014/main" id="{DB6DC12E-197D-4349-BE13-EE5743E419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55" name="Tints arc">
              <a:extLst>
                <a:ext uri="{FF2B5EF4-FFF2-40B4-BE49-F238E27FC236}">
                  <a16:creationId xmlns:a16="http://schemas.microsoft.com/office/drawing/2014/main" id="{E4193C67-C7D3-4151-9278-EB46CB9AD0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</p:grpSp>
      <p:grpSp>
        <p:nvGrpSpPr>
          <p:cNvPr id="18" name="Gruppieren 128">
            <a:extLst>
              <a:ext uri="{FF2B5EF4-FFF2-40B4-BE49-F238E27FC236}">
                <a16:creationId xmlns:a16="http://schemas.microsoft.com/office/drawing/2014/main" id="{80D33506-9BF7-418D-B425-25B1C1065AA9}"/>
              </a:ext>
            </a:extLst>
          </p:cNvPr>
          <p:cNvGrpSpPr/>
          <p:nvPr/>
        </p:nvGrpSpPr>
        <p:grpSpPr>
          <a:xfrm>
            <a:off x="1228725" y="960870"/>
            <a:ext cx="1097149" cy="1069848"/>
            <a:chOff x="1072497" y="2146321"/>
            <a:chExt cx="784158" cy="784158"/>
          </a:xfrm>
        </p:grpSpPr>
        <p:sp>
          <p:nvSpPr>
            <p:cNvPr id="44" name="Oval 136">
              <a:extLst>
                <a:ext uri="{FF2B5EF4-FFF2-40B4-BE49-F238E27FC236}">
                  <a16:creationId xmlns:a16="http://schemas.microsoft.com/office/drawing/2014/main" id="{FBF26C1F-054B-4074-8E53-6A8531EFF603}"/>
                </a:ext>
              </a:extLst>
            </p:cNvPr>
            <p:cNvSpPr/>
            <p:nvPr/>
          </p:nvSpPr>
          <p:spPr>
            <a:xfrm>
              <a:off x="1072497" y="2146321"/>
              <a:ext cx="784158" cy="784158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5" name="Tints arc">
              <a:extLst>
                <a:ext uri="{FF2B5EF4-FFF2-40B4-BE49-F238E27FC236}">
                  <a16:creationId xmlns:a16="http://schemas.microsoft.com/office/drawing/2014/main" id="{77336B28-B221-4FE8-9232-47C244C3D5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C265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6" name="Tints arc">
              <a:extLst>
                <a:ext uri="{FF2B5EF4-FFF2-40B4-BE49-F238E27FC236}">
                  <a16:creationId xmlns:a16="http://schemas.microsoft.com/office/drawing/2014/main" id="{9C9057C3-0317-4AE2-B63C-34EF9693E4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7"/>
              <a:ext cx="666228" cy="666228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7" name="Tints arc">
              <a:extLst>
                <a:ext uri="{FF2B5EF4-FFF2-40B4-BE49-F238E27FC236}">
                  <a16:creationId xmlns:a16="http://schemas.microsoft.com/office/drawing/2014/main" id="{7533F014-2184-4384-8DB0-BE25D620A8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31462" y="2205286"/>
              <a:ext cx="666228" cy="666228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C265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E59A00E-931F-480B-BE66-9F658FC60A28}"/>
              </a:ext>
            </a:extLst>
          </p:cNvPr>
          <p:cNvGrpSpPr/>
          <p:nvPr/>
        </p:nvGrpSpPr>
        <p:grpSpPr>
          <a:xfrm>
            <a:off x="1229815" y="4834721"/>
            <a:ext cx="1115568" cy="1069848"/>
            <a:chOff x="2818365" y="3263837"/>
            <a:chExt cx="865839" cy="865839"/>
          </a:xfrm>
        </p:grpSpPr>
        <p:sp>
          <p:nvSpPr>
            <p:cNvPr id="35" name="Oval 136">
              <a:extLst>
                <a:ext uri="{FF2B5EF4-FFF2-40B4-BE49-F238E27FC236}">
                  <a16:creationId xmlns:a16="http://schemas.microsoft.com/office/drawing/2014/main" id="{67F1B4A5-E62A-4065-B952-CDE56ABCBC40}"/>
                </a:ext>
              </a:extLst>
            </p:cNvPr>
            <p:cNvSpPr/>
            <p:nvPr/>
          </p:nvSpPr>
          <p:spPr>
            <a:xfrm>
              <a:off x="2818365" y="3263837"/>
              <a:ext cx="865839" cy="86583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  <a:defRPr/>
              </a:pPr>
              <a:r>
                <a:rPr lang="de-DE" sz="2800" b="1" kern="0">
                  <a:solidFill>
                    <a:schemeClr val="tx2"/>
                  </a:solidFill>
                  <a:latin typeface="Calibri Light" panose="020F0302020204030204" pitchFamily="34" charset="0"/>
                </a:rPr>
                <a:t>4</a:t>
              </a:r>
              <a:endParaRPr lang="en-US" sz="2800" b="1" kern="0">
                <a:solidFill>
                  <a:schemeClr val="tx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36" name="Tints arc">
              <a:extLst>
                <a:ext uri="{FF2B5EF4-FFF2-40B4-BE49-F238E27FC236}">
                  <a16:creationId xmlns:a16="http://schemas.microsoft.com/office/drawing/2014/main" id="{019A5373-C665-4F0E-B2EA-3EDFC3599A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5568853"/>
                <a:gd name="adj2" fmla="val 11966911"/>
              </a:avLst>
            </a:prstGeom>
            <a:noFill/>
            <a:ln w="19050" cap="rnd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37" name="Tints arc">
              <a:extLst>
                <a:ext uri="{FF2B5EF4-FFF2-40B4-BE49-F238E27FC236}">
                  <a16:creationId xmlns:a16="http://schemas.microsoft.com/office/drawing/2014/main" id="{0E3D8D1E-C235-4C7A-8603-A3E8EBD425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5"/>
            </a:xfrm>
            <a:prstGeom prst="arc">
              <a:avLst>
                <a:gd name="adj1" fmla="val 12311790"/>
                <a:gd name="adj2" fmla="val 20215920"/>
              </a:avLst>
            </a:prstGeom>
            <a:noFill/>
            <a:ln w="1905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38" name="Tints arc">
              <a:extLst>
                <a:ext uri="{FF2B5EF4-FFF2-40B4-BE49-F238E27FC236}">
                  <a16:creationId xmlns:a16="http://schemas.microsoft.com/office/drawing/2014/main" id="{BAB8D99D-1F1D-4E04-A913-A1945620C7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83471" y="3328945"/>
              <a:ext cx="735625" cy="735626"/>
            </a:xfrm>
            <a:prstGeom prst="arc">
              <a:avLst>
                <a:gd name="adj1" fmla="val 20526903"/>
                <a:gd name="adj2" fmla="val 5202373"/>
              </a:avLst>
            </a:prstGeom>
            <a:noFill/>
            <a:ln w="19050" cap="rnd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2000" b="1" kern="0">
                <a:solidFill>
                  <a:srgbClr val="0C2652"/>
                </a:solidFill>
                <a:latin typeface="Calibri Light" panose="020F0302020204030204" pitchFamily="34" charset="0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672419FB-6B65-4984-8FA8-CBB955C2E836}"/>
              </a:ext>
            </a:extLst>
          </p:cNvPr>
          <p:cNvSpPr/>
          <p:nvPr/>
        </p:nvSpPr>
        <p:spPr>
          <a:xfrm>
            <a:off x="-1036099" y="516048"/>
            <a:ext cx="1027046" cy="573810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>
              <a:solidFill>
                <a:srgbClr val="0F2F45"/>
              </a:solidFill>
            </a:endParaRPr>
          </a:p>
        </p:txBody>
      </p:sp>
      <p:pic>
        <p:nvPicPr>
          <p:cNvPr id="62" name="Picture 2">
            <a:extLst>
              <a:ext uri="{FF2B5EF4-FFF2-40B4-BE49-F238E27FC236}">
                <a16:creationId xmlns:a16="http://schemas.microsoft.com/office/drawing/2014/main" id="{AD8850BB-A6CA-4D5D-BF28-13EA2E9E2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03" y="3327709"/>
            <a:ext cx="1765278" cy="451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11192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A5CF2A5-02FE-49AD-A9D6-A147FD88AA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554906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2786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8811D4-B4B0-480D-8A82-B75E4B5DC3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Capital IQ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525963" y="982064"/>
            <a:ext cx="8123409" cy="247375"/>
            <a:chOff x="546492" y="4877621"/>
            <a:chExt cx="8042158" cy="247375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546492" y="4877621"/>
              <a:ext cx="1912489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Trading Comparable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9" name="Picture 8" descr="A picture containing table&#10;&#10;Description automatically generated">
            <a:extLst>
              <a:ext uri="{FF2B5EF4-FFF2-40B4-BE49-F238E27FC236}">
                <a16:creationId xmlns:a16="http://schemas.microsoft.com/office/drawing/2014/main" id="{BE7474D8-F799-46DA-89AB-801BEB0FFD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295" y="1364041"/>
            <a:ext cx="8123410" cy="3605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34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E21A7F5-6F4F-4449-8706-796B1753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186668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2506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8811D4-B4B0-480D-8A82-B75E4B5DC3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Capital IQ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525963" y="982064"/>
            <a:ext cx="8123409" cy="247375"/>
            <a:chOff x="546492" y="4877621"/>
            <a:chExt cx="8042158" cy="247375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546492" y="4877621"/>
              <a:ext cx="2457708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Historical and Projected P&amp;L ($MM</a:t>
              </a:r>
              <a:r>
                <a:rPr lang="en-US" sz="1300" b="1"/>
                <a:t>)</a:t>
              </a:r>
            </a:p>
          </p:txBody>
        </p:sp>
      </p:grp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623E2265-7CF3-43BE-B3F4-51CD552E13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62" y="1324800"/>
            <a:ext cx="8123409" cy="365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2262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98811D4-B4B0-480D-8A82-B75E4B5DC3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3E893-D4AB-4DAA-885A-EB8730237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006" y="404667"/>
            <a:ext cx="8084526" cy="246221"/>
          </a:xfrm>
        </p:spPr>
        <p:txBody>
          <a:bodyPr/>
          <a:lstStyle/>
          <a:p>
            <a:r>
              <a:rPr lang="en-US"/>
              <a:t>Comps and DCF Models (Financial Model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669CE-7732-4909-A758-998828A88E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Capital IQ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F93790-3D10-4CF2-81F8-D573EA603352}"/>
              </a:ext>
            </a:extLst>
          </p:cNvPr>
          <p:cNvGrpSpPr/>
          <p:nvPr/>
        </p:nvGrpSpPr>
        <p:grpSpPr>
          <a:xfrm>
            <a:off x="510295" y="982809"/>
            <a:ext cx="8139077" cy="246630"/>
            <a:chOff x="530980" y="4878366"/>
            <a:chExt cx="8057670" cy="246630"/>
          </a:xfrm>
        </p:grpSpPr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56F92447-3E75-4FCD-AB41-381EF485761F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B15243D-F4AC-4945-9FD2-8C7C1C25728E}"/>
                </a:ext>
              </a:extLst>
            </p:cNvPr>
            <p:cNvSpPr txBox="1"/>
            <p:nvPr/>
          </p:nvSpPr>
          <p:spPr>
            <a:xfrm>
              <a:off x="530980" y="4878366"/>
              <a:ext cx="2010754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Discounted Cash Flow ($MM</a:t>
              </a:r>
              <a:r>
                <a:rPr lang="en-US" sz="1300" b="1" dirty="0"/>
                <a:t>)</a:t>
              </a:r>
            </a:p>
          </p:txBody>
        </p:sp>
      </p:grp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44040F21-5377-40DE-8334-66FDD90738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8391" y="1266782"/>
            <a:ext cx="6435725" cy="2265088"/>
          </a:xfrm>
          <a:prstGeom prst="rect">
            <a:avLst/>
          </a:prstGeom>
        </p:spPr>
      </p:pic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2E1BFB1-FE1D-4891-8AB8-7266D8CEA1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" y="3967325"/>
            <a:ext cx="8110612" cy="2026749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937A194-BBB4-420D-9B63-1F727E3506BA}"/>
              </a:ext>
            </a:extLst>
          </p:cNvPr>
          <p:cNvGrpSpPr/>
          <p:nvPr/>
        </p:nvGrpSpPr>
        <p:grpSpPr>
          <a:xfrm>
            <a:off x="541633" y="3720694"/>
            <a:ext cx="8123408" cy="246631"/>
            <a:chOff x="546492" y="4878365"/>
            <a:chExt cx="8042158" cy="246631"/>
          </a:xfrm>
        </p:grpSpPr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E6CB3443-0209-4D58-B738-D7954066F193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812B4F-8A35-4B61-A868-43FA97F781BC}"/>
                </a:ext>
              </a:extLst>
            </p:cNvPr>
            <p:cNvSpPr txBox="1"/>
            <p:nvPr/>
          </p:nvSpPr>
          <p:spPr>
            <a:xfrm>
              <a:off x="553793" y="4878365"/>
              <a:ext cx="883308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Assumptions</a:t>
              </a:r>
              <a:endParaRPr lang="en-US" sz="13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2906260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22F33D-F8F8-41B4-8578-85AE55F22C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4142143"/>
            <a:ext cx="8084526" cy="620170"/>
          </a:xfrm>
        </p:spPr>
        <p:txBody>
          <a:bodyPr/>
          <a:lstStyle/>
          <a:p>
            <a:pPr algn="ctr"/>
            <a:r>
              <a:rPr lang="en-US" sz="4000" dirty="0"/>
              <a:t>THANK YOU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D55FF4-773A-45B5-8414-166451682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2ED532-BB88-494B-B867-53AE6A3836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ED3771D-A94E-40D6-B08E-84F251FC9E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458" y="2038699"/>
            <a:ext cx="4008235" cy="1025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6830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84BC37-002C-4C7B-B769-FA19884ED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973"/>
            <a:ext cx="8084526" cy="186077"/>
          </a:xfrm>
        </p:spPr>
        <p:txBody>
          <a:bodyPr/>
          <a:lstStyle/>
          <a:p>
            <a:r>
              <a:rPr lang="en-US"/>
              <a:t>Executive Summary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DCE84CF-7662-4AE8-B66E-12DB1F6D6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bbott Overview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567879-4C0F-4060-A1C6-BE4E59A73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50714" y="6507310"/>
            <a:ext cx="6435725" cy="118330"/>
          </a:xfrm>
        </p:spPr>
        <p:txBody>
          <a:bodyPr/>
          <a:lstStyle/>
          <a:p>
            <a:r>
              <a:rPr lang="en-US"/>
              <a:t>Sources: Capital IQ, Company Filings, &amp; Company Websit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F333F5C-6E90-4BCE-B500-2179AE4734ED}"/>
              </a:ext>
            </a:extLst>
          </p:cNvPr>
          <p:cNvGrpSpPr/>
          <p:nvPr/>
        </p:nvGrpSpPr>
        <p:grpSpPr>
          <a:xfrm>
            <a:off x="529006" y="944586"/>
            <a:ext cx="3892159" cy="209288"/>
            <a:chOff x="529007" y="944586"/>
            <a:chExt cx="3892159" cy="209288"/>
          </a:xfrm>
        </p:grpSpPr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615C2012-6FB6-4ADF-BE6C-FB50F24612A7}"/>
                </a:ext>
              </a:extLst>
            </p:cNvPr>
            <p:cNvCxnSpPr/>
            <p:nvPr/>
          </p:nvCxnSpPr>
          <p:spPr>
            <a:xfrm>
              <a:off x="529007" y="1142748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2D72A3D-C402-4924-95B9-297040354440}"/>
                </a:ext>
              </a:extLst>
            </p:cNvPr>
            <p:cNvSpPr txBox="1"/>
            <p:nvPr/>
          </p:nvSpPr>
          <p:spPr>
            <a:xfrm>
              <a:off x="529007" y="944586"/>
              <a:ext cx="659540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r>
                <a:rPr lang="en-US" sz="1300" b="1">
                  <a:solidFill>
                    <a:srgbClr val="0C2652"/>
                  </a:solidFill>
                </a:rPr>
                <a:t>Overview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0148AE9-B6E6-4DC5-B24A-5EF977F5E32A}"/>
              </a:ext>
            </a:extLst>
          </p:cNvPr>
          <p:cNvSpPr txBox="1"/>
          <p:nvPr/>
        </p:nvSpPr>
        <p:spPr>
          <a:xfrm>
            <a:off x="529006" y="1195928"/>
            <a:ext cx="3870933" cy="136974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400"/>
              </a:spcAft>
              <a:defRPr/>
            </a:pPr>
            <a:r>
              <a:rPr lang="en-US" sz="900" b="1">
                <a:solidFill>
                  <a:srgbClr val="6C6C6B"/>
                </a:solidFill>
              </a:rPr>
              <a:t>Headquarters:</a:t>
            </a:r>
            <a:r>
              <a:rPr lang="en-US" sz="900">
                <a:solidFill>
                  <a:srgbClr val="6C6C6B"/>
                </a:solidFill>
              </a:rPr>
              <a:t>	North Chicago, Illinois. </a:t>
            </a:r>
          </a:p>
          <a:p>
            <a:pPr>
              <a:spcAft>
                <a:spcPts val="400"/>
              </a:spcAft>
              <a:defRPr/>
            </a:pPr>
            <a:r>
              <a:rPr lang="en-US" sz="900" b="1">
                <a:solidFill>
                  <a:srgbClr val="6C6C6B"/>
                </a:solidFill>
              </a:rPr>
              <a:t>Founded:	                  </a:t>
            </a:r>
            <a:r>
              <a:rPr lang="en-US" sz="900">
                <a:solidFill>
                  <a:srgbClr val="6C6C6B"/>
                </a:solidFill>
              </a:rPr>
              <a:t>1888</a:t>
            </a:r>
          </a:p>
          <a:p>
            <a:pPr>
              <a:spcAft>
                <a:spcPts val="400"/>
              </a:spcAft>
              <a:defRPr/>
            </a:pPr>
            <a:r>
              <a:rPr lang="en-US" sz="900" b="1">
                <a:solidFill>
                  <a:srgbClr val="6C6C6B"/>
                </a:solidFill>
              </a:rPr>
              <a:t>Employees:	</a:t>
            </a:r>
            <a:r>
              <a:rPr lang="en-US" sz="900">
                <a:solidFill>
                  <a:srgbClr val="6C6C6B"/>
                </a:solidFill>
              </a:rPr>
              <a:t>109 000</a:t>
            </a:r>
          </a:p>
          <a:p>
            <a:pPr marL="914400" indent="-914400" algn="just">
              <a:spcAft>
                <a:spcPts val="400"/>
              </a:spcAft>
              <a:defRPr/>
            </a:pPr>
            <a:r>
              <a:rPr lang="en-US" sz="900" b="1">
                <a:solidFill>
                  <a:srgbClr val="6C6C6B"/>
                </a:solidFill>
              </a:rPr>
              <a:t>Description: 	</a:t>
            </a:r>
            <a:r>
              <a:rPr lang="en-US" sz="900">
                <a:solidFill>
                  <a:srgbClr val="6C6C6B"/>
                </a:solidFill>
              </a:rPr>
              <a:t>Abbott Laboratories discovers, develops, manufactures, and sells health care products worldwide. The company creates breakthrough products - in diagnostics, medical devices, nutrition, and branded generic pharmaceuticals- that help families and communities lead healthier lives, full of unlimited possibilities.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E1F9BED-970B-40DA-8D1F-2388DEDF2443}"/>
              </a:ext>
            </a:extLst>
          </p:cNvPr>
          <p:cNvGrpSpPr/>
          <p:nvPr/>
        </p:nvGrpSpPr>
        <p:grpSpPr>
          <a:xfrm>
            <a:off x="4744063" y="944586"/>
            <a:ext cx="3892159" cy="1290876"/>
            <a:chOff x="4744063" y="944586"/>
            <a:chExt cx="3892159" cy="129087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1670324-BE60-4079-89AE-8FB4EF617E39}"/>
                </a:ext>
              </a:extLst>
            </p:cNvPr>
            <p:cNvGrpSpPr/>
            <p:nvPr/>
          </p:nvGrpSpPr>
          <p:grpSpPr>
            <a:xfrm>
              <a:off x="4744063" y="944586"/>
              <a:ext cx="3892159" cy="209288"/>
              <a:chOff x="4633522" y="900356"/>
              <a:chExt cx="4114800" cy="228104"/>
            </a:xfrm>
          </p:grpSpPr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26A2A2B-8FBA-470E-A8BB-BD5BEC49FC80}"/>
                  </a:ext>
                </a:extLst>
              </p:cNvPr>
              <p:cNvCxnSpPr/>
              <p:nvPr/>
            </p:nvCxnSpPr>
            <p:spPr>
              <a:xfrm>
                <a:off x="4633522" y="1119052"/>
                <a:ext cx="4114800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30FF8A5-57E3-493B-8B26-D0FE399FE492}"/>
                  </a:ext>
                </a:extLst>
              </p:cNvPr>
              <p:cNvSpPr txBox="1"/>
              <p:nvPr/>
            </p:nvSpPr>
            <p:spPr>
              <a:xfrm>
                <a:off x="4633522" y="900356"/>
                <a:ext cx="1457712" cy="228104"/>
              </a:xfrm>
              <a:prstGeom prst="rect">
                <a:avLst/>
              </a:prstGeom>
            </p:spPr>
            <p:txBody>
              <a:bodyPr vert="horz" wrap="non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Company Highlights</a:t>
                </a: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2931383-F306-4C7A-A118-063A20B81F44}"/>
                </a:ext>
              </a:extLst>
            </p:cNvPr>
            <p:cNvSpPr/>
            <p:nvPr/>
          </p:nvSpPr>
          <p:spPr>
            <a:xfrm>
              <a:off x="4744063" y="1247959"/>
              <a:ext cx="1173092" cy="987493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130+ </a:t>
              </a:r>
              <a:r>
                <a:rPr lang="en-US" sz="1000"/>
                <a:t>years of</a:t>
              </a:r>
            </a:p>
            <a:p>
              <a:pPr algn="ctr"/>
              <a:r>
                <a:rPr lang="en-US" sz="1000"/>
                <a:t>discovering new ways to make life better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B75D14F-ED99-4358-ACA4-9F579B845341}"/>
                </a:ext>
              </a:extLst>
            </p:cNvPr>
            <p:cNvSpPr/>
            <p:nvPr/>
          </p:nvSpPr>
          <p:spPr>
            <a:xfrm>
              <a:off x="6103598" y="1247959"/>
              <a:ext cx="1173091" cy="987477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/>
                <a:t>Making a difference in over </a:t>
              </a:r>
              <a:r>
                <a:rPr lang="en-US" sz="1400" b="1">
                  <a:solidFill>
                    <a:srgbClr val="002060"/>
                  </a:solidFill>
                </a:rPr>
                <a:t>160 + </a:t>
              </a:r>
              <a:r>
                <a:rPr lang="en-US" sz="1000"/>
                <a:t>years 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CAA957B-9BF5-4E00-8CCF-91F1BCA2E718}"/>
                </a:ext>
              </a:extLst>
            </p:cNvPr>
            <p:cNvSpPr/>
            <p:nvPr/>
          </p:nvSpPr>
          <p:spPr>
            <a:xfrm>
              <a:off x="7463132" y="1247960"/>
              <a:ext cx="1173090" cy="987502"/>
            </a:xfrm>
            <a:prstGeom prst="rect">
              <a:avLst/>
            </a:prstGeom>
            <a:solidFill>
              <a:srgbClr val="82B3DB"/>
            </a:solidFill>
            <a:ln>
              <a:solidFill>
                <a:srgbClr val="82B3D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109,000</a:t>
              </a:r>
              <a:r>
                <a:rPr lang="en-US" sz="1000" b="1"/>
                <a:t> </a:t>
              </a:r>
              <a:r>
                <a:rPr lang="en-US" sz="1000"/>
                <a:t>employees working around the world to make a lasting impact on health 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E159D48-5F3A-40DD-BAFC-723B1F24ED36}"/>
              </a:ext>
            </a:extLst>
          </p:cNvPr>
          <p:cNvGrpSpPr/>
          <p:nvPr/>
        </p:nvGrpSpPr>
        <p:grpSpPr>
          <a:xfrm>
            <a:off x="523431" y="3921261"/>
            <a:ext cx="3876508" cy="2060700"/>
            <a:chOff x="5035536" y="2537263"/>
            <a:chExt cx="3892160" cy="2060700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5646428A-15F0-49BE-925A-DF58D503DC1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18" t="21613" r="7728"/>
            <a:stretch/>
          </p:blipFill>
          <p:spPr bwMode="auto">
            <a:xfrm>
              <a:off x="5035536" y="2844344"/>
              <a:ext cx="3892160" cy="17536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609B7AA-D31B-4C02-86DC-72BEEFD92317}"/>
                </a:ext>
              </a:extLst>
            </p:cNvPr>
            <p:cNvGrpSpPr/>
            <p:nvPr/>
          </p:nvGrpSpPr>
          <p:grpSpPr>
            <a:xfrm>
              <a:off x="5035536" y="2537263"/>
              <a:ext cx="3892160" cy="247730"/>
              <a:chOff x="-310549" y="4877266"/>
              <a:chExt cx="8042158" cy="247730"/>
            </a:xfrm>
          </p:grpSpPr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A08AE0A6-F9CD-4946-B578-22DA709E9D22}"/>
                  </a:ext>
                </a:extLst>
              </p:cNvPr>
              <p:cNvCxnSpPr/>
              <p:nvPr/>
            </p:nvCxnSpPr>
            <p:spPr>
              <a:xfrm>
                <a:off x="-310549" y="5124996"/>
                <a:ext cx="8042158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7812D76-4634-4F0D-B75F-C2C8BBFF70E3}"/>
                  </a:ext>
                </a:extLst>
              </p:cNvPr>
              <p:cNvSpPr txBox="1"/>
              <p:nvPr/>
            </p:nvSpPr>
            <p:spPr>
              <a:xfrm>
                <a:off x="-310549" y="4877266"/>
                <a:ext cx="2913716" cy="209288"/>
              </a:xfrm>
              <a:prstGeom prst="rect">
                <a:avLst/>
              </a:prstGeom>
            </p:spPr>
            <p:txBody>
              <a:bodyPr vert="horz" wrap="squar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Trusted Brands </a:t>
                </a: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CF1BED0-3EC1-48D8-A05F-23823A6681A3}"/>
              </a:ext>
            </a:extLst>
          </p:cNvPr>
          <p:cNvGrpSpPr/>
          <p:nvPr/>
        </p:nvGrpSpPr>
        <p:grpSpPr>
          <a:xfrm>
            <a:off x="4758861" y="4551876"/>
            <a:ext cx="3876508" cy="1894766"/>
            <a:chOff x="441915" y="4548790"/>
            <a:chExt cx="3892161" cy="1894766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94E09D02-F2F2-413E-9452-076279EEAF70}"/>
                </a:ext>
              </a:extLst>
            </p:cNvPr>
            <p:cNvGrpSpPr/>
            <p:nvPr/>
          </p:nvGrpSpPr>
          <p:grpSpPr>
            <a:xfrm>
              <a:off x="441915" y="4548790"/>
              <a:ext cx="3892161" cy="289433"/>
              <a:chOff x="-310551" y="4835563"/>
              <a:chExt cx="8042160" cy="289433"/>
            </a:xfrm>
          </p:grpSpPr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9D8D6B47-25B4-42BA-B4D0-A2F9422E38CD}"/>
                  </a:ext>
                </a:extLst>
              </p:cNvPr>
              <p:cNvCxnSpPr/>
              <p:nvPr/>
            </p:nvCxnSpPr>
            <p:spPr>
              <a:xfrm>
                <a:off x="-310549" y="5124996"/>
                <a:ext cx="8042158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2E0F12FF-A6C7-48FE-B7C5-8D4DE2448885}"/>
                  </a:ext>
                </a:extLst>
              </p:cNvPr>
              <p:cNvSpPr txBox="1"/>
              <p:nvPr/>
            </p:nvSpPr>
            <p:spPr>
              <a:xfrm>
                <a:off x="-310551" y="4835563"/>
                <a:ext cx="5325473" cy="209288"/>
              </a:xfrm>
              <a:prstGeom prst="rect">
                <a:avLst/>
              </a:prstGeom>
            </p:spPr>
            <p:txBody>
              <a:bodyPr vert="horz" wrap="squar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Company Market Leadership</a:t>
                </a: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F6AA262-DBAA-44BE-99A3-EAF42F027FE2}"/>
                </a:ext>
              </a:extLst>
            </p:cNvPr>
            <p:cNvSpPr txBox="1"/>
            <p:nvPr/>
          </p:nvSpPr>
          <p:spPr>
            <a:xfrm>
              <a:off x="441915" y="4859529"/>
              <a:ext cx="3867073" cy="124795"/>
            </a:xfrm>
            <a:prstGeom prst="rect">
              <a:avLst/>
            </a:prstGeom>
          </p:spPr>
          <p:txBody>
            <a:bodyPr vert="horz" wrap="square" lIns="0" tIns="0" rIns="0" bIns="0" numCol="1" rtlCol="0">
              <a:noAutofit/>
            </a:bodyPr>
            <a:lstStyle/>
            <a:p>
              <a:r>
                <a:rPr lang="en-US" sz="1000" b="1">
                  <a:solidFill>
                    <a:srgbClr val="002060"/>
                  </a:solidFill>
                </a:rPr>
                <a:t>Abbott is a market leader in the following areas</a:t>
              </a:r>
            </a:p>
            <a:p>
              <a:endParaRPr lang="en-US" sz="900" b="1"/>
            </a:p>
            <a:p>
              <a:pPr marL="171450" indent="-171450">
                <a:buFont typeface="Courier New" panose="02070309020205020404" pitchFamily="49" charset="0"/>
                <a:buChar char="o"/>
              </a:pPr>
              <a:endParaRPr lang="en-US" sz="900" b="1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DB60056-9C36-4AD5-BA31-D6765F7B3926}"/>
                </a:ext>
              </a:extLst>
            </p:cNvPr>
            <p:cNvSpPr txBox="1"/>
            <p:nvPr/>
          </p:nvSpPr>
          <p:spPr>
            <a:xfrm>
              <a:off x="1139983" y="5529156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endParaRPr lang="en-US" sz="1000" err="1"/>
            </a:p>
          </p:txBody>
        </p:sp>
        <p:graphicFrame>
          <p:nvGraphicFramePr>
            <p:cNvPr id="11" name="Diagram 10">
              <a:extLst>
                <a:ext uri="{FF2B5EF4-FFF2-40B4-BE49-F238E27FC236}">
                  <a16:creationId xmlns:a16="http://schemas.microsoft.com/office/drawing/2014/main" id="{4DD3D966-60CB-4DE7-BDC1-DFC53EC7CB4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08940607"/>
                </p:ext>
              </p:extLst>
            </p:nvPr>
          </p:nvGraphicFramePr>
          <p:xfrm>
            <a:off x="441915" y="5025774"/>
            <a:ext cx="3867073" cy="118449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42CCA1C-9F1D-4735-B4F8-3DDC9702EE09}"/>
              </a:ext>
            </a:extLst>
          </p:cNvPr>
          <p:cNvGrpSpPr/>
          <p:nvPr/>
        </p:nvGrpSpPr>
        <p:grpSpPr>
          <a:xfrm>
            <a:off x="4743544" y="2521923"/>
            <a:ext cx="3891825" cy="1801974"/>
            <a:chOff x="5035018" y="4590493"/>
            <a:chExt cx="3892678" cy="1801974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C5AFF85A-941C-46A2-83BD-981015E67B40}"/>
                </a:ext>
              </a:extLst>
            </p:cNvPr>
            <p:cNvGrpSpPr/>
            <p:nvPr/>
          </p:nvGrpSpPr>
          <p:grpSpPr>
            <a:xfrm>
              <a:off x="5035536" y="4590493"/>
              <a:ext cx="3892160" cy="247730"/>
              <a:chOff x="-310549" y="4877266"/>
              <a:chExt cx="8042158" cy="247730"/>
            </a:xfrm>
          </p:grpSpPr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CDD69057-2A62-4480-AA46-289A640CACAA}"/>
                  </a:ext>
                </a:extLst>
              </p:cNvPr>
              <p:cNvCxnSpPr/>
              <p:nvPr/>
            </p:nvCxnSpPr>
            <p:spPr>
              <a:xfrm>
                <a:off x="-310549" y="5124996"/>
                <a:ext cx="8042158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5A3E5895-7C92-41DC-8872-E11519155C3C}"/>
                  </a:ext>
                </a:extLst>
              </p:cNvPr>
              <p:cNvSpPr txBox="1"/>
              <p:nvPr/>
            </p:nvSpPr>
            <p:spPr>
              <a:xfrm>
                <a:off x="-310549" y="4877266"/>
                <a:ext cx="5874336" cy="209288"/>
              </a:xfrm>
              <a:prstGeom prst="rect">
                <a:avLst/>
              </a:prstGeom>
            </p:spPr>
            <p:txBody>
              <a:bodyPr vert="horz" wrap="squar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Advancing Innovation</a:t>
                </a:r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648F10D-C745-4B70-9673-E0573025DE41}"/>
                </a:ext>
              </a:extLst>
            </p:cNvPr>
            <p:cNvSpPr txBox="1"/>
            <p:nvPr/>
          </p:nvSpPr>
          <p:spPr>
            <a:xfrm>
              <a:off x="5039631" y="4846937"/>
              <a:ext cx="3380014" cy="9912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000" b="1">
                  <a:solidFill>
                    <a:srgbClr val="002060"/>
                  </a:solidFill>
                </a:rPr>
                <a:t>Abbott is constantly advancing innovation</a:t>
              </a:r>
            </a:p>
          </p:txBody>
        </p:sp>
        <p:pic>
          <p:nvPicPr>
            <p:cNvPr id="60" name="Graphic 59" descr="Brain with solid fill">
              <a:extLst>
                <a:ext uri="{FF2B5EF4-FFF2-40B4-BE49-F238E27FC236}">
                  <a16:creationId xmlns:a16="http://schemas.microsoft.com/office/drawing/2014/main" id="{F4590670-ECA1-469A-A665-57D2FD322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30883" y="4953776"/>
              <a:ext cx="619945" cy="619945"/>
            </a:xfrm>
            <a:prstGeom prst="rect">
              <a:avLst/>
            </a:prstGeom>
          </p:spPr>
        </p:pic>
        <p:pic>
          <p:nvPicPr>
            <p:cNvPr id="70" name="Graphic 69" descr="Bullseye with solid fill">
              <a:extLst>
                <a:ext uri="{FF2B5EF4-FFF2-40B4-BE49-F238E27FC236}">
                  <a16:creationId xmlns:a16="http://schemas.microsoft.com/office/drawing/2014/main" id="{9BF33E65-098C-48E2-B66B-AA19E9700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017647" y="5032127"/>
              <a:ext cx="529727" cy="529727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D8AE598-109C-48DF-A6E6-A7917C1E5CA9}"/>
                </a:ext>
              </a:extLst>
            </p:cNvPr>
            <p:cNvSpPr txBox="1"/>
            <p:nvPr/>
          </p:nvSpPr>
          <p:spPr>
            <a:xfrm>
              <a:off x="5050335" y="5540448"/>
              <a:ext cx="1152168" cy="30608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74B2CC"/>
                  </a:solidFill>
                </a:rPr>
                <a:t>Pioneering Diabetes Management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04CB839-B476-4654-90AF-FBFDD46D1186}"/>
                </a:ext>
              </a:extLst>
            </p:cNvPr>
            <p:cNvSpPr txBox="1"/>
            <p:nvPr/>
          </p:nvSpPr>
          <p:spPr>
            <a:xfrm>
              <a:off x="6539313" y="5537813"/>
              <a:ext cx="959840" cy="21058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r>
                <a:rPr lang="en-US" sz="1000">
                  <a:solidFill>
                    <a:srgbClr val="74B2CC"/>
                  </a:solidFill>
                </a:rPr>
                <a:t>Neuromodulation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A13FD61-44F5-4682-9CCD-026F576810F4}"/>
                </a:ext>
              </a:extLst>
            </p:cNvPr>
            <p:cNvSpPr txBox="1"/>
            <p:nvPr/>
          </p:nvSpPr>
          <p:spPr>
            <a:xfrm>
              <a:off x="7773414" y="5540727"/>
              <a:ext cx="1135473" cy="2918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74B2CC"/>
                  </a:solidFill>
                </a:rPr>
                <a:t>Taking diagnostics to new heights </a:t>
              </a:r>
            </a:p>
          </p:txBody>
        </p:sp>
        <p:pic>
          <p:nvPicPr>
            <p:cNvPr id="89" name="Graphic 88" descr="No sign with solid fill">
              <a:extLst>
                <a:ext uri="{FF2B5EF4-FFF2-40B4-BE49-F238E27FC236}">
                  <a16:creationId xmlns:a16="http://schemas.microsoft.com/office/drawing/2014/main" id="{5D55F85F-AFE5-46E2-8A9D-54CF8D63C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311387" y="4941909"/>
              <a:ext cx="619945" cy="619945"/>
            </a:xfrm>
            <a:prstGeom prst="rect">
              <a:avLst/>
            </a:prstGeom>
          </p:spPr>
        </p:pic>
        <p:pic>
          <p:nvPicPr>
            <p:cNvPr id="76" name="Graphic 75" descr="Water with solid fill">
              <a:extLst>
                <a:ext uri="{FF2B5EF4-FFF2-40B4-BE49-F238E27FC236}">
                  <a16:creationId xmlns:a16="http://schemas.microsoft.com/office/drawing/2014/main" id="{A6B53BCA-DC77-410B-BB99-BFA65F60A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496550" y="5119180"/>
              <a:ext cx="263784" cy="263784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E92CB2EC-1CF3-4666-BC3F-F9B1CE6681DA}"/>
                </a:ext>
              </a:extLst>
            </p:cNvPr>
            <p:cNvSpPr txBox="1"/>
            <p:nvPr/>
          </p:nvSpPr>
          <p:spPr>
            <a:xfrm>
              <a:off x="5035018" y="5873995"/>
              <a:ext cx="1290369" cy="36091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Ground-breaking sensing technology displays glucose with a scan 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1140EE4-7EC4-4ECD-BE11-1D541C0B4337}"/>
                </a:ext>
              </a:extLst>
            </p:cNvPr>
            <p:cNvSpPr txBox="1"/>
            <p:nvPr/>
          </p:nvSpPr>
          <p:spPr>
            <a:xfrm>
              <a:off x="6451993" y="5851069"/>
              <a:ext cx="1066465" cy="22295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Innovative devices for chronic pain movement disorders 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3E2895-4A56-46C4-872A-3682FB6C601D}"/>
                </a:ext>
              </a:extLst>
            </p:cNvPr>
            <p:cNvSpPr txBox="1"/>
            <p:nvPr/>
          </p:nvSpPr>
          <p:spPr>
            <a:xfrm>
              <a:off x="7637327" y="5853539"/>
              <a:ext cx="1290369" cy="53892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>
                  <a:solidFill>
                    <a:srgbClr val="004F71"/>
                  </a:solidFill>
                </a:rPr>
                <a:t>An unprecedented approach to provide a more efficient complete diagnostics solution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1A846CC-8709-45AC-9FB4-0219AECB3D33}"/>
              </a:ext>
            </a:extLst>
          </p:cNvPr>
          <p:cNvGrpSpPr/>
          <p:nvPr/>
        </p:nvGrpSpPr>
        <p:grpSpPr>
          <a:xfrm>
            <a:off x="373337" y="2565674"/>
            <a:ext cx="4021027" cy="1219484"/>
            <a:chOff x="297922" y="2565675"/>
            <a:chExt cx="4062498" cy="121948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CB70AFD-38B0-4E28-9737-61ABE06BEEB0}"/>
                </a:ext>
              </a:extLst>
            </p:cNvPr>
            <p:cNvGrpSpPr/>
            <p:nvPr/>
          </p:nvGrpSpPr>
          <p:grpSpPr>
            <a:xfrm>
              <a:off x="468261" y="2565675"/>
              <a:ext cx="3892159" cy="209288"/>
              <a:chOff x="4633522" y="909764"/>
              <a:chExt cx="4114800" cy="209288"/>
            </a:xfrm>
          </p:grpSpPr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396703BF-9FB5-40B1-A32C-6FECB3E18BCA}"/>
                  </a:ext>
                </a:extLst>
              </p:cNvPr>
              <p:cNvCxnSpPr/>
              <p:nvPr/>
            </p:nvCxnSpPr>
            <p:spPr>
              <a:xfrm>
                <a:off x="4633522" y="1119052"/>
                <a:ext cx="4114800" cy="0"/>
              </a:xfrm>
              <a:prstGeom prst="straightConnector1">
                <a:avLst/>
              </a:prstGeom>
              <a:ln w="12700">
                <a:solidFill>
                  <a:srgbClr val="0C2652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A97A998-FA5A-41E8-80E4-3FE05B6B9C9D}"/>
                  </a:ext>
                </a:extLst>
              </p:cNvPr>
              <p:cNvSpPr txBox="1"/>
              <p:nvPr/>
            </p:nvSpPr>
            <p:spPr>
              <a:xfrm>
                <a:off x="4633522" y="909764"/>
                <a:ext cx="710146" cy="209288"/>
              </a:xfrm>
              <a:prstGeom prst="rect">
                <a:avLst/>
              </a:prstGeom>
            </p:spPr>
            <p:txBody>
              <a:bodyPr vert="horz" wrap="none" lIns="0" tIns="0" rIns="0" bIns="9144" rtlCol="0" anchor="ctr">
                <a:spAutoFit/>
              </a:bodyPr>
              <a:lstStyle/>
              <a:p>
                <a:r>
                  <a:rPr lang="en-US" sz="1300" b="1">
                    <a:solidFill>
                      <a:srgbClr val="0C2652"/>
                    </a:solidFill>
                  </a:rPr>
                  <a:t>Segments</a:t>
                </a:r>
              </a:p>
            </p:txBody>
          </p:sp>
        </p:grpSp>
        <p:sp>
          <p:nvSpPr>
            <p:cNvPr id="56" name="Flowchart: Connector 55">
              <a:extLst>
                <a:ext uri="{FF2B5EF4-FFF2-40B4-BE49-F238E27FC236}">
                  <a16:creationId xmlns:a16="http://schemas.microsoft.com/office/drawing/2014/main" id="{08C75017-E8E6-476E-9AF9-E60F90718170}"/>
                </a:ext>
              </a:extLst>
            </p:cNvPr>
            <p:cNvSpPr/>
            <p:nvPr/>
          </p:nvSpPr>
          <p:spPr>
            <a:xfrm>
              <a:off x="3514698" y="2891665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F06A048-B13A-4BB6-A9AD-A8206F0B9C07}"/>
                </a:ext>
              </a:extLst>
            </p:cNvPr>
            <p:cNvSpPr txBox="1"/>
            <p:nvPr/>
          </p:nvSpPr>
          <p:spPr>
            <a:xfrm>
              <a:off x="3248006" y="3573423"/>
              <a:ext cx="1100558" cy="21173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 b="1">
                  <a:solidFill>
                    <a:srgbClr val="0C2652"/>
                  </a:solidFill>
                </a:rPr>
                <a:t>Diagnostics</a:t>
              </a:r>
              <a:r>
                <a:rPr lang="en-US" sz="1000">
                  <a:solidFill>
                    <a:srgbClr val="0C2652"/>
                  </a:solidFill>
                </a:rPr>
                <a:t> </a:t>
              </a:r>
            </a:p>
          </p:txBody>
        </p:sp>
        <p:pic>
          <p:nvPicPr>
            <p:cNvPr id="30" name="Graphic 29" descr="Microscope with solid fill">
              <a:extLst>
                <a:ext uri="{FF2B5EF4-FFF2-40B4-BE49-F238E27FC236}">
                  <a16:creationId xmlns:a16="http://schemas.microsoft.com/office/drawing/2014/main" id="{9861171F-8B4B-41CA-AEC9-291EF1530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607803" y="2957362"/>
              <a:ext cx="372503" cy="372503"/>
            </a:xfrm>
            <a:prstGeom prst="rect">
              <a:avLst/>
            </a:prstGeom>
          </p:spPr>
        </p:pic>
        <p:sp>
          <p:nvSpPr>
            <p:cNvPr id="68" name="Flowchart: Connector 67">
              <a:extLst>
                <a:ext uri="{FF2B5EF4-FFF2-40B4-BE49-F238E27FC236}">
                  <a16:creationId xmlns:a16="http://schemas.microsoft.com/office/drawing/2014/main" id="{F0FE3069-4A74-4355-8632-689B6BE01CF0}"/>
                </a:ext>
              </a:extLst>
            </p:cNvPr>
            <p:cNvSpPr/>
            <p:nvPr/>
          </p:nvSpPr>
          <p:spPr>
            <a:xfrm>
              <a:off x="546185" y="2887380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sp>
          <p:nvSpPr>
            <p:cNvPr id="69" name="Flowchart: Connector 68">
              <a:extLst>
                <a:ext uri="{FF2B5EF4-FFF2-40B4-BE49-F238E27FC236}">
                  <a16:creationId xmlns:a16="http://schemas.microsoft.com/office/drawing/2014/main" id="{B5892FA7-02DB-44C2-BEA5-2E106E515504}"/>
                </a:ext>
              </a:extLst>
            </p:cNvPr>
            <p:cNvSpPr/>
            <p:nvPr/>
          </p:nvSpPr>
          <p:spPr>
            <a:xfrm>
              <a:off x="2527617" y="2874552"/>
              <a:ext cx="558717" cy="572688"/>
            </a:xfrm>
            <a:prstGeom prst="flowChartConnector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5000"/>
                </a:lnSpc>
              </a:pPr>
              <a:endParaRPr lang="en-US" sz="1200" kern="0" err="1">
                <a:solidFill>
                  <a:srgbClr val="0F2F45"/>
                </a:solidFill>
              </a:endParaRPr>
            </a:p>
          </p:txBody>
        </p:sp>
        <p:pic>
          <p:nvPicPr>
            <p:cNvPr id="35" name="Graphic 34" descr="Water Bottle with solid fill">
              <a:extLst>
                <a:ext uri="{FF2B5EF4-FFF2-40B4-BE49-F238E27FC236}">
                  <a16:creationId xmlns:a16="http://schemas.microsoft.com/office/drawing/2014/main" id="{6B33316B-F3BA-471B-B5E7-4E1856741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11075" y="2949508"/>
              <a:ext cx="415394" cy="415394"/>
            </a:xfrm>
            <a:prstGeom prst="rect">
              <a:avLst/>
            </a:prstGeom>
          </p:spPr>
        </p:pic>
        <p:pic>
          <p:nvPicPr>
            <p:cNvPr id="37" name="Graphic 36" descr="Medicine with solid fill">
              <a:extLst>
                <a:ext uri="{FF2B5EF4-FFF2-40B4-BE49-F238E27FC236}">
                  <a16:creationId xmlns:a16="http://schemas.microsoft.com/office/drawing/2014/main" id="{4F0E0338-D145-46E3-B231-A52293714D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660611" y="2975351"/>
              <a:ext cx="337235" cy="337235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8744675-95D9-4F59-ABD6-B8AD1DE2E668}"/>
                </a:ext>
              </a:extLst>
            </p:cNvPr>
            <p:cNvSpPr txBox="1"/>
            <p:nvPr/>
          </p:nvSpPr>
          <p:spPr>
            <a:xfrm>
              <a:off x="297922" y="3562546"/>
              <a:ext cx="1100558" cy="21173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 b="1" dirty="0">
                  <a:solidFill>
                    <a:srgbClr val="0C2652"/>
                  </a:solidFill>
                </a:rPr>
                <a:t>Nutrition</a:t>
              </a:r>
              <a:r>
                <a:rPr lang="en-US" sz="1000" dirty="0">
                  <a:solidFill>
                    <a:srgbClr val="0C2652"/>
                  </a:solidFill>
                </a:rPr>
                <a:t> 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B081652-54B3-4FDC-8C67-7A02AA3988DC}"/>
                </a:ext>
              </a:extLst>
            </p:cNvPr>
            <p:cNvSpPr txBox="1"/>
            <p:nvPr/>
          </p:nvSpPr>
          <p:spPr>
            <a:xfrm>
              <a:off x="2235100" y="3562240"/>
              <a:ext cx="1100558" cy="21173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/>
              <a:r>
                <a:rPr lang="en-US" sz="1000" b="1" dirty="0">
                  <a:solidFill>
                    <a:srgbClr val="0C2652"/>
                  </a:solidFill>
                </a:rPr>
                <a:t>Pharmaceutical</a:t>
              </a:r>
              <a:endParaRPr lang="en-US" sz="1000" dirty="0">
                <a:solidFill>
                  <a:srgbClr val="0C2652"/>
                </a:solidFill>
              </a:endParaRPr>
            </a:p>
          </p:txBody>
        </p:sp>
      </p:grpSp>
      <p:sp>
        <p:nvSpPr>
          <p:cNvPr id="63" name="Flowchart: Connector 62">
            <a:extLst>
              <a:ext uri="{FF2B5EF4-FFF2-40B4-BE49-F238E27FC236}">
                <a16:creationId xmlns:a16="http://schemas.microsoft.com/office/drawing/2014/main" id="{2A9BC6AE-EAD2-431C-9AD5-930D6032FF9D}"/>
              </a:ext>
            </a:extLst>
          </p:cNvPr>
          <p:cNvSpPr/>
          <p:nvPr/>
        </p:nvSpPr>
        <p:spPr>
          <a:xfrm>
            <a:off x="1527949" y="2885206"/>
            <a:ext cx="558717" cy="604928"/>
          </a:xfrm>
          <a:prstGeom prst="flowChartConnector">
            <a:avLst/>
          </a:prstGeom>
          <a:solidFill>
            <a:srgbClr val="82B3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5000"/>
              </a:lnSpc>
            </a:pPr>
            <a:endParaRPr lang="en-US" sz="1200" kern="0" dirty="0" err="1">
              <a:solidFill>
                <a:srgbClr val="0F2F45"/>
              </a:solidFill>
            </a:endParaRPr>
          </a:p>
        </p:txBody>
      </p:sp>
      <p:pic>
        <p:nvPicPr>
          <p:cNvPr id="64" name="Graphic 63" descr="Brain with solid fill">
            <a:extLst>
              <a:ext uri="{FF2B5EF4-FFF2-40B4-BE49-F238E27FC236}">
                <a16:creationId xmlns:a16="http://schemas.microsoft.com/office/drawing/2014/main" id="{AEFED715-0400-4A8A-937D-EF69EEB49D7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16423" y="3011716"/>
            <a:ext cx="351303" cy="351303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F600D007-8C75-4EE8-B337-4786C287107F}"/>
              </a:ext>
            </a:extLst>
          </p:cNvPr>
          <p:cNvSpPr txBox="1"/>
          <p:nvPr/>
        </p:nvSpPr>
        <p:spPr>
          <a:xfrm>
            <a:off x="1272753" y="3563624"/>
            <a:ext cx="1089323" cy="2117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1" dirty="0">
                <a:solidFill>
                  <a:srgbClr val="0C2652"/>
                </a:solidFill>
              </a:rPr>
              <a:t>Medical Devices</a:t>
            </a:r>
            <a:endParaRPr lang="en-US" sz="1000" dirty="0">
              <a:solidFill>
                <a:srgbClr val="0C26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638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DA1465C-C6E6-4103-8A0E-8FE6862BC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5796979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81672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B7720F-8DB7-4C8B-A60A-7BC0AB22A6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Industry Overview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39AA0A-777C-47D8-84D1-BD9D543FC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 Trends: Medical Dev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C39FF-0139-43D6-92DB-880655EC1F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IBISWorld, Abbott, Pfizer, AbbVie, Medtronic, Eli Lilly and Comapn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44BA30D-CCDF-4BB6-AF2B-104C6647E3B8}"/>
              </a:ext>
            </a:extLst>
          </p:cNvPr>
          <p:cNvGrpSpPr/>
          <p:nvPr/>
        </p:nvGrpSpPr>
        <p:grpSpPr>
          <a:xfrm>
            <a:off x="4721373" y="1438106"/>
            <a:ext cx="3892159" cy="220791"/>
            <a:chOff x="4696490" y="860269"/>
            <a:chExt cx="3892159" cy="220791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42B7C52-4EF5-4FC3-9E1E-9A55C6BD5AA9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4B5E6F-6227-4BF3-84D9-85F6F12976EC}"/>
                </a:ext>
              </a:extLst>
            </p:cNvPr>
            <p:cNvSpPr txBox="1"/>
            <p:nvPr/>
          </p:nvSpPr>
          <p:spPr>
            <a:xfrm>
              <a:off x="5613314" y="860269"/>
              <a:ext cx="166122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Medical Devices Market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B47BB8A-3BC7-456F-BA2C-687CBAD9CE81}"/>
              </a:ext>
            </a:extLst>
          </p:cNvPr>
          <p:cNvSpPr txBox="1"/>
          <p:nvPr/>
        </p:nvSpPr>
        <p:spPr>
          <a:xfrm>
            <a:off x="4994553" y="1658597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Y/Y Growth in Medical Device Manufacturing ($ in billions)</a:t>
            </a:r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AE9A935-AB00-494E-ADFA-FDF4886E9728}"/>
              </a:ext>
            </a:extLst>
          </p:cNvPr>
          <p:cNvGrpSpPr/>
          <p:nvPr/>
        </p:nvGrpSpPr>
        <p:grpSpPr>
          <a:xfrm>
            <a:off x="359233" y="5886468"/>
            <a:ext cx="8067040" cy="247375"/>
            <a:chOff x="546492" y="4877621"/>
            <a:chExt cx="8042158" cy="247375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3DBF28E-FD7B-4B33-A60B-DF3BA2DAC1D7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2F0BBEA-99F7-4BFC-9042-40304D5151B7}"/>
                </a:ext>
              </a:extLst>
            </p:cNvPr>
            <p:cNvSpPr txBox="1"/>
            <p:nvPr/>
          </p:nvSpPr>
          <p:spPr>
            <a:xfrm>
              <a:off x="3062205" y="4877621"/>
              <a:ext cx="6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endParaRPr lang="en-US" sz="1300" b="1">
                <a:solidFill>
                  <a:srgbClr val="0C2652"/>
                </a:solidFill>
                <a:cs typeface="Calibri"/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ADD7101-5CC9-4D52-8586-93C3DE3C54F7}"/>
              </a:ext>
            </a:extLst>
          </p:cNvPr>
          <p:cNvSpPr/>
          <p:nvPr/>
        </p:nvSpPr>
        <p:spPr>
          <a:xfrm>
            <a:off x="520131" y="847844"/>
            <a:ext cx="8178334" cy="4316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i="1">
                <a:solidFill>
                  <a:schemeClr val="bg1"/>
                </a:solidFill>
              </a:rPr>
              <a:t>Through the pandemic, there has been a greater impotence on medical devices and diagnostic testing</a:t>
            </a:r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5C6A69A-D4C4-4E39-A6A4-021AC1A4AFB5}"/>
              </a:ext>
            </a:extLst>
          </p:cNvPr>
          <p:cNvGraphicFramePr>
            <a:graphicFrameLocks/>
          </p:cNvGraphicFramePr>
          <p:nvPr/>
        </p:nvGraphicFramePr>
        <p:xfrm>
          <a:off x="4993446" y="1966140"/>
          <a:ext cx="3432828" cy="1685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5FA9CF23-F234-44D9-AD78-3D2E84AD018D}"/>
              </a:ext>
            </a:extLst>
          </p:cNvPr>
          <p:cNvGrpSpPr/>
          <p:nvPr/>
        </p:nvGrpSpPr>
        <p:grpSpPr>
          <a:xfrm>
            <a:off x="625853" y="1993536"/>
            <a:ext cx="3892160" cy="896513"/>
            <a:chOff x="473451" y="1140643"/>
            <a:chExt cx="3931920" cy="73216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B898A17-D4A2-49B3-87BF-B06AE4BA4F97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2116C371-4B8F-44DE-8C19-03C86A7AAE3F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Inhaltsplatzhalter 45">
              <a:extLst>
                <a:ext uri="{FF2B5EF4-FFF2-40B4-BE49-F238E27FC236}">
                  <a16:creationId xmlns:a16="http://schemas.microsoft.com/office/drawing/2014/main" id="{2E33C117-8C83-470C-BF1A-3A12CB1F6279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Surging Incidence of Chronic Disease</a:t>
              </a:r>
              <a:endParaRPr lang="en-US" sz="1000">
                <a:cs typeface="Calibri"/>
              </a:endParaRP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Increasing incidence and prevalence rates of chronic diseases, such as diabetes and heart failure</a:t>
              </a:r>
            </a:p>
            <a:p>
              <a:pPr marL="184150" marR="508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The increase in diagnostic examinations fuels the growth rate of the medical devices marke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4F6BCE-88BC-41E9-BDB7-D4635C287B3F}"/>
              </a:ext>
            </a:extLst>
          </p:cNvPr>
          <p:cNvGrpSpPr/>
          <p:nvPr/>
        </p:nvGrpSpPr>
        <p:grpSpPr>
          <a:xfrm>
            <a:off x="625853" y="3050804"/>
            <a:ext cx="3892160" cy="896513"/>
            <a:chOff x="473451" y="1140643"/>
            <a:chExt cx="3931920" cy="73216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1B8D10-3D81-4C94-BC5D-A401F29017D9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A15382A8-8987-477E-8960-B7277AF8456C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Inhaltsplatzhalter 45">
              <a:extLst>
                <a:ext uri="{FF2B5EF4-FFF2-40B4-BE49-F238E27FC236}">
                  <a16:creationId xmlns:a16="http://schemas.microsoft.com/office/drawing/2014/main" id="{68B32EC5-5E15-43F7-8A75-35F797CBF793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Emergence of New and Hassle-Free Medical Devices</a:t>
              </a:r>
              <a:endParaRPr lang="en-US" sz="1000">
                <a:cs typeface="Calibri"/>
              </a:endParaRP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Innovative home monitoring medical devices has allowed patients and healthcare providers to remotely monitor vital sign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1A3A32-7D05-4969-844D-F53E12717AAD}"/>
              </a:ext>
            </a:extLst>
          </p:cNvPr>
          <p:cNvGrpSpPr/>
          <p:nvPr/>
        </p:nvGrpSpPr>
        <p:grpSpPr>
          <a:xfrm>
            <a:off x="629823" y="4181632"/>
            <a:ext cx="3892160" cy="896513"/>
            <a:chOff x="473451" y="1140643"/>
            <a:chExt cx="3931920" cy="73216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A297150-5F47-4095-9885-8CA685FD2598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7C99AA7B-400C-497A-9B6D-175C325704F6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Inhaltsplatzhalter 45">
              <a:extLst>
                <a:ext uri="{FF2B5EF4-FFF2-40B4-BE49-F238E27FC236}">
                  <a16:creationId xmlns:a16="http://schemas.microsoft.com/office/drawing/2014/main" id="{596A25C6-C865-4C99-8DBC-68E7F12C2672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endParaRPr lang="en-US" sz="1000" b="1" spc="-5">
                <a:solidFill>
                  <a:srgbClr val="0C2552"/>
                </a:solidFill>
                <a:cs typeface="Calibri"/>
              </a:endParaRPr>
            </a:p>
            <a:p>
              <a:pPr marL="1270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Increasing Geriatric Population</a:t>
              </a:r>
              <a:endParaRPr lang="en-US" sz="1000">
                <a:cs typeface="Calibri"/>
              </a:endParaRP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Rising elderly population across different countries indirectly rises the usage of medical devices for different vital functions</a:t>
              </a: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A growing geriatric population primarily in Asia, following North America and Europe</a:t>
              </a:r>
            </a:p>
            <a:p>
              <a:pPr marL="184150" marR="5080" indent="-171450">
                <a:buSzPct val="100000"/>
                <a:buFont typeface="Calibri" panose="020F0502020204030204" pitchFamily="34" charset="0"/>
                <a:buChar char="»"/>
              </a:pPr>
              <a:endParaRPr lang="en-US" sz="1000">
                <a:solidFill>
                  <a:srgbClr val="6C6C6B"/>
                </a:solidFill>
                <a:cs typeface="Calibri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1F7AAC5-53F3-4A02-9CE5-005664D1FD65}"/>
              </a:ext>
            </a:extLst>
          </p:cNvPr>
          <p:cNvGrpSpPr/>
          <p:nvPr/>
        </p:nvGrpSpPr>
        <p:grpSpPr>
          <a:xfrm>
            <a:off x="577604" y="1431774"/>
            <a:ext cx="3892159" cy="220791"/>
            <a:chOff x="4696490" y="860269"/>
            <a:chExt cx="3892159" cy="220791"/>
          </a:xfrm>
        </p:grpSpPr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9BA8C10-0838-482E-813D-52A96D9931C4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E7DA0D-25C4-4304-B444-7574535CF903}"/>
                </a:ext>
              </a:extLst>
            </p:cNvPr>
            <p:cNvSpPr txBox="1"/>
            <p:nvPr/>
          </p:nvSpPr>
          <p:spPr>
            <a:xfrm>
              <a:off x="5613314" y="860269"/>
              <a:ext cx="166122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Medical Devices Market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88C440C-5FE7-4392-8856-269C9D616E41}"/>
              </a:ext>
            </a:extLst>
          </p:cNvPr>
          <p:cNvSpPr txBox="1"/>
          <p:nvPr/>
        </p:nvSpPr>
        <p:spPr>
          <a:xfrm>
            <a:off x="850784" y="1652265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Key Indicators for a growing market in Medical Devices</a:t>
            </a:r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2A7B476-B113-4EFD-B6A1-6159465F3FC5}"/>
              </a:ext>
            </a:extLst>
          </p:cNvPr>
          <p:cNvSpPr txBox="1"/>
          <p:nvPr/>
        </p:nvSpPr>
        <p:spPr>
          <a:xfrm rot="16200000">
            <a:off x="4484756" y="2566754"/>
            <a:ext cx="903524" cy="1447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1"/>
              <a:t>$ in bill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032A4BC-1241-42FB-BF21-984B3993E615}"/>
              </a:ext>
            </a:extLst>
          </p:cNvPr>
          <p:cNvSpPr txBox="1"/>
          <p:nvPr/>
        </p:nvSpPr>
        <p:spPr>
          <a:xfrm>
            <a:off x="6258098" y="3572704"/>
            <a:ext cx="903524" cy="1447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lang="en-US" sz="1000" b="1"/>
              <a:t>Years</a:t>
            </a:r>
          </a:p>
        </p:txBody>
      </p:sp>
      <p:pic>
        <p:nvPicPr>
          <p:cNvPr id="12" name="Picture 11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401F3007-3D62-435A-84DB-3E9B397AD6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213" y="4403082"/>
            <a:ext cx="1017704" cy="1233792"/>
          </a:xfrm>
          <a:prstGeom prst="rect">
            <a:avLst/>
          </a:prstGeom>
        </p:spPr>
      </p:pic>
      <p:pic>
        <p:nvPicPr>
          <p:cNvPr id="14" name="Picture 1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419C507-C84E-48F4-A611-D5A49A5EBA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755" y="4497958"/>
            <a:ext cx="1017704" cy="1157389"/>
          </a:xfrm>
          <a:prstGeom prst="rect">
            <a:avLst/>
          </a:prstGeom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0601724E-1309-41E2-8A67-AAB8142A7B1C}"/>
              </a:ext>
            </a:extLst>
          </p:cNvPr>
          <p:cNvGrpSpPr/>
          <p:nvPr/>
        </p:nvGrpSpPr>
        <p:grpSpPr>
          <a:xfrm>
            <a:off x="5180363" y="4163247"/>
            <a:ext cx="1487089" cy="220791"/>
            <a:chOff x="4626096" y="860269"/>
            <a:chExt cx="3962553" cy="220791"/>
          </a:xfrm>
        </p:grpSpPr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0B90B323-EE10-469B-9663-6C71DC8B155B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B45EED8-868A-4A56-89F1-F82A3A981AF9}"/>
                </a:ext>
              </a:extLst>
            </p:cNvPr>
            <p:cNvSpPr txBox="1"/>
            <p:nvPr/>
          </p:nvSpPr>
          <p:spPr>
            <a:xfrm>
              <a:off x="4626096" y="860269"/>
              <a:ext cx="3635664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Chronic Pain Device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08FDF9E-D3DE-4024-AED4-82EA45D7ADB9}"/>
              </a:ext>
            </a:extLst>
          </p:cNvPr>
          <p:cNvGrpSpPr/>
          <p:nvPr/>
        </p:nvGrpSpPr>
        <p:grpSpPr>
          <a:xfrm>
            <a:off x="6829271" y="3958663"/>
            <a:ext cx="1460671" cy="424381"/>
            <a:chOff x="4696490" y="871395"/>
            <a:chExt cx="3892159" cy="209665"/>
          </a:xfrm>
        </p:grpSpPr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A8F809EC-0307-4A0C-B601-B11D7C01C766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2676C72-9090-4D70-8CAB-A76B98CAF3A5}"/>
                </a:ext>
              </a:extLst>
            </p:cNvPr>
            <p:cNvSpPr txBox="1"/>
            <p:nvPr/>
          </p:nvSpPr>
          <p:spPr>
            <a:xfrm>
              <a:off x="4696490" y="871395"/>
              <a:ext cx="3892159" cy="187036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Continuous Glucose Monit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70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B7720F-8DB7-4C8B-A60A-7BC0AB22A6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Industry Overview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39AA0A-777C-47D8-84D1-BD9D543FC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 Trends: Diagnos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C39FF-0139-43D6-92DB-880655EC1F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</a:t>
            </a:r>
            <a:r>
              <a:rPr lang="en-US" err="1"/>
              <a:t>Modor</a:t>
            </a:r>
            <a:r>
              <a:rPr lang="en-US"/>
              <a:t> Intelligenc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44BA30D-CCDF-4BB6-AF2B-104C6647E3B8}"/>
              </a:ext>
            </a:extLst>
          </p:cNvPr>
          <p:cNvGrpSpPr/>
          <p:nvPr/>
        </p:nvGrpSpPr>
        <p:grpSpPr>
          <a:xfrm>
            <a:off x="4721373" y="1438106"/>
            <a:ext cx="3892159" cy="220791"/>
            <a:chOff x="4696490" y="860269"/>
            <a:chExt cx="3892159" cy="220791"/>
          </a:xfrm>
        </p:grpSpPr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42B7C52-4EF5-4FC3-9E1E-9A55C6BD5AA9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B4B5E6F-6227-4BF3-84D9-85F6F12976EC}"/>
                </a:ext>
              </a:extLst>
            </p:cNvPr>
            <p:cNvSpPr txBox="1"/>
            <p:nvPr/>
          </p:nvSpPr>
          <p:spPr>
            <a:xfrm>
              <a:off x="5977541" y="860269"/>
              <a:ext cx="132773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Diagnostics Market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B47BB8A-3BC7-456F-BA2C-687CBAD9CE81}"/>
              </a:ext>
            </a:extLst>
          </p:cNvPr>
          <p:cNvSpPr txBox="1"/>
          <p:nvPr/>
        </p:nvSpPr>
        <p:spPr>
          <a:xfrm>
            <a:off x="4994553" y="1658597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endParaRPr lang="en-US" sz="1100" b="1">
              <a:solidFill>
                <a:srgbClr val="6C6C6B"/>
              </a:solidFill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AE9A935-AB00-494E-ADFA-FDF4886E9728}"/>
              </a:ext>
            </a:extLst>
          </p:cNvPr>
          <p:cNvGrpSpPr/>
          <p:nvPr/>
        </p:nvGrpSpPr>
        <p:grpSpPr>
          <a:xfrm>
            <a:off x="359233" y="5886468"/>
            <a:ext cx="8067040" cy="247375"/>
            <a:chOff x="546492" y="4877621"/>
            <a:chExt cx="8042158" cy="247375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3DBF28E-FD7B-4B33-A60B-DF3BA2DAC1D7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2F0BBEA-99F7-4BFC-9042-40304D5151B7}"/>
                </a:ext>
              </a:extLst>
            </p:cNvPr>
            <p:cNvSpPr txBox="1"/>
            <p:nvPr/>
          </p:nvSpPr>
          <p:spPr>
            <a:xfrm>
              <a:off x="3062205" y="4877621"/>
              <a:ext cx="6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endParaRPr lang="en-US" sz="1300" b="1">
                <a:solidFill>
                  <a:srgbClr val="0C2652"/>
                </a:solidFill>
                <a:cs typeface="Calibri"/>
              </a:endParaRP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ADD7101-5CC9-4D52-8586-93C3DE3C54F7}"/>
              </a:ext>
            </a:extLst>
          </p:cNvPr>
          <p:cNvSpPr/>
          <p:nvPr/>
        </p:nvSpPr>
        <p:spPr>
          <a:xfrm>
            <a:off x="520131" y="847844"/>
            <a:ext cx="8178334" cy="43167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i="1">
                <a:solidFill>
                  <a:schemeClr val="bg1"/>
                </a:solidFill>
              </a:rPr>
              <a:t>Through the pandemic, there has been a greater impotence on medical devices and diagnostic testing</a:t>
            </a:r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FA9CF23-F234-44D9-AD78-3D2E84AD018D}"/>
              </a:ext>
            </a:extLst>
          </p:cNvPr>
          <p:cNvGrpSpPr/>
          <p:nvPr/>
        </p:nvGrpSpPr>
        <p:grpSpPr>
          <a:xfrm>
            <a:off x="4721373" y="1997248"/>
            <a:ext cx="3892160" cy="896514"/>
            <a:chOff x="473451" y="1140642"/>
            <a:chExt cx="3931920" cy="73216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B898A17-D4A2-49B3-87BF-B06AE4BA4F97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2116C371-4B8F-44DE-8C19-03C86A7AAE3F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Inhaltsplatzhalter 45">
              <a:extLst>
                <a:ext uri="{FF2B5EF4-FFF2-40B4-BE49-F238E27FC236}">
                  <a16:creationId xmlns:a16="http://schemas.microsoft.com/office/drawing/2014/main" id="{2E33C117-8C83-470C-BF1A-3A12CB1F6279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2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Market Size</a:t>
              </a:r>
              <a:endParaRPr lang="en-US" sz="1000">
                <a:cs typeface="Calibri"/>
              </a:endParaRP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Worth $63 billion globally and expected to reach $94 bn by 2026</a:t>
              </a: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North America is the largest market for diagnostics while the Asia Pacific is the fastest-growing geography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04F6BCE-88BC-41E9-BDB7-D4635C287B3F}"/>
              </a:ext>
            </a:extLst>
          </p:cNvPr>
          <p:cNvGrpSpPr/>
          <p:nvPr/>
        </p:nvGrpSpPr>
        <p:grpSpPr>
          <a:xfrm>
            <a:off x="4721373" y="3076101"/>
            <a:ext cx="3892160" cy="896513"/>
            <a:chOff x="473451" y="1140643"/>
            <a:chExt cx="3931920" cy="732161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41B8D10-3D81-4C94-BC5D-A401F29017D9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id="{A15382A8-8987-477E-8960-B7277AF8456C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Inhaltsplatzhalter 45">
              <a:extLst>
                <a:ext uri="{FF2B5EF4-FFF2-40B4-BE49-F238E27FC236}">
                  <a16:creationId xmlns:a16="http://schemas.microsoft.com/office/drawing/2014/main" id="{68B32EC5-5E15-43F7-8A75-35F797CBF793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 lvl="0" indent="0" fontAlgn="auto">
                <a:spcBef>
                  <a:spcPts val="0"/>
                </a:spcBef>
                <a:spcAft>
                  <a:spcPts val="0"/>
                </a:spcAft>
                <a:buSzTx/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COVID-19 Impact</a:t>
              </a:r>
              <a:endParaRPr lang="en-US" sz="1000">
                <a:solidFill>
                  <a:prstClr val="black"/>
                </a:solidFill>
                <a:cs typeface="Calibri"/>
              </a:endParaRPr>
            </a:p>
            <a:p>
              <a:pPr marL="184150" lvl="0" indent="-171450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COVID-19 has exponentially driven growth with increased lab testing, an upsurge in patients, and more government funding </a:t>
              </a:r>
            </a:p>
            <a:p>
              <a:pPr marL="184150" lvl="0" indent="-171450" fontAlgn="auto">
                <a:spcBef>
                  <a:spcPts val="0"/>
                </a:spcBef>
                <a:spcAft>
                  <a:spcPts val="0"/>
                </a:spcAft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Segmented into four areas: Test, Product, End User, and Geography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91A3A32-7D05-4969-844D-F53E12717AAD}"/>
              </a:ext>
            </a:extLst>
          </p:cNvPr>
          <p:cNvGrpSpPr/>
          <p:nvPr/>
        </p:nvGrpSpPr>
        <p:grpSpPr>
          <a:xfrm>
            <a:off x="4725343" y="4206929"/>
            <a:ext cx="3892160" cy="896513"/>
            <a:chOff x="473451" y="1140643"/>
            <a:chExt cx="3931920" cy="73216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A297150-5F47-4095-9885-8CA685FD2598}"/>
                </a:ext>
              </a:extLst>
            </p:cNvPr>
            <p:cNvSpPr/>
            <p:nvPr/>
          </p:nvSpPr>
          <p:spPr>
            <a:xfrm>
              <a:off x="473451" y="1140643"/>
              <a:ext cx="3931920" cy="730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7C99AA7B-400C-497A-9B6D-175C325704F6}"/>
                </a:ext>
              </a:extLst>
            </p:cNvPr>
            <p:cNvSpPr/>
            <p:nvPr/>
          </p:nvSpPr>
          <p:spPr>
            <a:xfrm>
              <a:off x="473451" y="1140687"/>
              <a:ext cx="326335" cy="732117"/>
            </a:xfrm>
            <a:prstGeom prst="homePlate">
              <a:avLst/>
            </a:prstGeom>
            <a:solidFill>
              <a:srgbClr val="82B3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Inhaltsplatzhalter 45">
              <a:extLst>
                <a:ext uri="{FF2B5EF4-FFF2-40B4-BE49-F238E27FC236}">
                  <a16:creationId xmlns:a16="http://schemas.microsoft.com/office/drawing/2014/main" id="{596A25C6-C865-4C99-8DBC-68E7F12C2672}"/>
                </a:ext>
              </a:extLst>
            </p:cNvPr>
            <p:cNvSpPr txBox="1">
              <a:spLocks/>
            </p:cNvSpPr>
            <p:nvPr/>
          </p:nvSpPr>
          <p:spPr>
            <a:xfrm>
              <a:off x="799787" y="1140643"/>
              <a:ext cx="3589960" cy="70408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72000" tIns="72000" rIns="72000" bIns="72000" numCol="1" anchor="ctr" anchorCtr="0" compatLnSpc="1">
              <a:prstTxWarp prst="textNoShape">
                <a:avLst/>
              </a:prstTxWarp>
              <a:noAutofit/>
            </a:bodyPr>
            <a:lstStyle>
              <a:lvl1pPr marL="180975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109" charset="0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1pPr>
              <a:lvl2pPr marL="142875" indent="-142875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10000"/>
                <a:buFont typeface="Arial" pitchFamily="34" charset="0"/>
                <a:buChar char="•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2pPr>
              <a:lvl3pPr marL="269875" indent="-128588" algn="l" defTabSz="808038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›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3pPr>
              <a:lvl4pPr marL="447675" indent="-177800" algn="l" rtl="0" eaLnBrk="1" fontAlgn="base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Symbol" panose="05050102010706020507" pitchFamily="18" charset="2"/>
                <a:buChar char="-"/>
                <a:defRPr sz="1200">
                  <a:solidFill>
                    <a:schemeClr val="tx2"/>
                  </a:solidFill>
                  <a:latin typeface="Calibri" pitchFamily="34" charset="0"/>
                  <a:ea typeface="+mn-ea"/>
                  <a:cs typeface="+mn-cs"/>
                </a:defRPr>
              </a:lvl4pPr>
              <a:lvl5pPr marL="1341438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Symbol" pitchFamily="-109" charset="2"/>
                <a:buChar char="-"/>
                <a:defRPr sz="1600"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5pPr>
              <a:lvl6pPr marL="20764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6pPr>
              <a:lvl7pPr marL="25336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7pPr>
              <a:lvl8pPr marL="29908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8pPr>
              <a:lvl9pPr marL="3448050" indent="-180975" algn="l" rtl="0" eaLnBrk="1" fontAlgn="base" hangingPunct="1">
                <a:spcBef>
                  <a:spcPct val="0"/>
                </a:spcBef>
                <a:spcAft>
                  <a:spcPct val="0"/>
                </a:spcAft>
                <a:buSzPct val="60000"/>
                <a:buFont typeface="Garamond" pitchFamily="-65" charset="0"/>
                <a:buChar char="●"/>
                <a:defRPr>
                  <a:solidFill>
                    <a:srgbClr val="5F5F5F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</a:pPr>
              <a:r>
                <a:rPr lang="en-US" sz="1000" b="1" spc="-5">
                  <a:solidFill>
                    <a:srgbClr val="0C2552"/>
                  </a:solidFill>
                  <a:cs typeface="Calibri"/>
                </a:rPr>
                <a:t>The Future of the Industry</a:t>
              </a:r>
              <a:endParaRPr lang="en-US" sz="1000">
                <a:cs typeface="Calibri"/>
              </a:endParaRP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Majority of chronic disease growth occurs in emerging markets</a:t>
              </a:r>
            </a:p>
            <a:p>
              <a:pPr marL="184150" indent="-171450">
                <a:buSzPct val="100000"/>
                <a:buFont typeface="Calibri" panose="020F0502020204030204" pitchFamily="34" charset="0"/>
                <a:buChar char="»"/>
              </a:pPr>
              <a:r>
                <a:rPr lang="en-US" sz="1000">
                  <a:solidFill>
                    <a:srgbClr val="6C6C6B"/>
                  </a:solidFill>
                  <a:cs typeface="Calibri"/>
                </a:rPr>
                <a:t>Clinical diagnostics assist with prevention and intervention which should propel the overall market 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1F7AAC5-53F3-4A02-9CE5-005664D1FD65}"/>
              </a:ext>
            </a:extLst>
          </p:cNvPr>
          <p:cNvGrpSpPr/>
          <p:nvPr/>
        </p:nvGrpSpPr>
        <p:grpSpPr>
          <a:xfrm>
            <a:off x="577604" y="1431774"/>
            <a:ext cx="3892159" cy="220791"/>
            <a:chOff x="4696490" y="860269"/>
            <a:chExt cx="3892159" cy="220791"/>
          </a:xfrm>
        </p:grpSpPr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9BA8C10-0838-482E-813D-52A96D9931C4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E7DA0D-25C4-4304-B444-7574535CF903}"/>
                </a:ext>
              </a:extLst>
            </p:cNvPr>
            <p:cNvSpPr txBox="1"/>
            <p:nvPr/>
          </p:nvSpPr>
          <p:spPr>
            <a:xfrm>
              <a:off x="5780059" y="860269"/>
              <a:ext cx="1327736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Diagnostics Market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88C440C-5FE7-4392-8856-269C9D616E41}"/>
              </a:ext>
            </a:extLst>
          </p:cNvPr>
          <p:cNvSpPr txBox="1"/>
          <p:nvPr/>
        </p:nvSpPr>
        <p:spPr>
          <a:xfrm>
            <a:off x="850784" y="1652265"/>
            <a:ext cx="3705019" cy="1826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Market Growth in Diagnostics segmented by Product Type</a:t>
            </a:r>
            <a:endParaRPr lang="en-US" sz="1100" b="1">
              <a:solidFill>
                <a:srgbClr val="6C6C6B"/>
              </a:solidFill>
              <a:cs typeface="Calibri"/>
            </a:endParaRPr>
          </a:p>
        </p:txBody>
      </p:sp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F2C76A77-2D9E-0345-809F-8029219680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97" y="1993561"/>
            <a:ext cx="3801432" cy="1796969"/>
          </a:xfrm>
          <a:prstGeom prst="rect">
            <a:avLst/>
          </a:prstGeom>
        </p:spPr>
      </p:pic>
      <p:pic>
        <p:nvPicPr>
          <p:cNvPr id="7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0F637274-E042-14D4-6E43-1DB7CFD3DA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386" y="4322058"/>
            <a:ext cx="1549822" cy="9977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62CE81A-E3E6-66AE-3E33-32B2F6E5BB6E}"/>
              </a:ext>
            </a:extLst>
          </p:cNvPr>
          <p:cNvSpPr txBox="1"/>
          <p:nvPr/>
        </p:nvSpPr>
        <p:spPr>
          <a:xfrm>
            <a:off x="5187186" y="1662437"/>
            <a:ext cx="2964620" cy="1692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100" b="1">
                <a:solidFill>
                  <a:srgbClr val="6C6C6B"/>
                </a:solidFill>
              </a:rPr>
              <a:t>Key Indicators for a growing market in Diagnostics</a:t>
            </a:r>
            <a:endParaRPr lang="en-US" sz="1100"/>
          </a:p>
        </p:txBody>
      </p:sp>
      <p:pic>
        <p:nvPicPr>
          <p:cNvPr id="15" name="Picture 14" descr="A picture containing electronics, printer, white&#10;&#10;Description automatically generated">
            <a:extLst>
              <a:ext uri="{FF2B5EF4-FFF2-40B4-BE49-F238E27FC236}">
                <a16:creationId xmlns:a16="http://schemas.microsoft.com/office/drawing/2014/main" id="{26376A38-FAD4-46DF-99E5-BD6F2643D9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3439" y="4144975"/>
            <a:ext cx="1268931" cy="1281251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D5C38D3D-1322-4DDD-B78D-3C4C5F37A192}"/>
              </a:ext>
            </a:extLst>
          </p:cNvPr>
          <p:cNvGrpSpPr/>
          <p:nvPr/>
        </p:nvGrpSpPr>
        <p:grpSpPr>
          <a:xfrm>
            <a:off x="804386" y="4047100"/>
            <a:ext cx="1487089" cy="220791"/>
            <a:chOff x="4626096" y="860269"/>
            <a:chExt cx="3962553" cy="220791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0CA99D2A-2193-494F-838F-DBCE37E42B6B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C21906A-0839-4A4F-ACDE-8865220E5D87}"/>
                </a:ext>
              </a:extLst>
            </p:cNvPr>
            <p:cNvSpPr txBox="1"/>
            <p:nvPr/>
          </p:nvSpPr>
          <p:spPr>
            <a:xfrm>
              <a:off x="4626096" y="860269"/>
              <a:ext cx="3892156" cy="209288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COVID-19 Testing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9D4172D-C4B4-459E-A4E6-0646D0E6FD37}"/>
              </a:ext>
            </a:extLst>
          </p:cNvPr>
          <p:cNvGrpSpPr/>
          <p:nvPr/>
        </p:nvGrpSpPr>
        <p:grpSpPr>
          <a:xfrm>
            <a:off x="2678825" y="4032086"/>
            <a:ext cx="1487089" cy="220791"/>
            <a:chOff x="4626096" y="860269"/>
            <a:chExt cx="3962553" cy="220791"/>
          </a:xfrm>
        </p:grpSpPr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1FE55ED-7453-4CB8-9256-1B87275CFD67}"/>
                </a:ext>
              </a:extLst>
            </p:cNvPr>
            <p:cNvCxnSpPr/>
            <p:nvPr/>
          </p:nvCxnSpPr>
          <p:spPr>
            <a:xfrm>
              <a:off x="4696490" y="1081060"/>
              <a:ext cx="3892159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3E0B637-D899-408B-B3CD-475A018EE0DD}"/>
                </a:ext>
              </a:extLst>
            </p:cNvPr>
            <p:cNvSpPr txBox="1"/>
            <p:nvPr/>
          </p:nvSpPr>
          <p:spPr>
            <a:xfrm>
              <a:off x="4626096" y="860269"/>
              <a:ext cx="3892156" cy="209288"/>
            </a:xfrm>
            <a:prstGeom prst="rect">
              <a:avLst/>
            </a:prstGeom>
          </p:spPr>
          <p:txBody>
            <a:bodyPr vert="horz" wrap="square" lIns="0" tIns="0" rIns="0" bIns="9144" rtlCol="0" anchor="ctr">
              <a:spAutoFit/>
            </a:bodyPr>
            <a:lstStyle/>
            <a:p>
              <a:pPr algn="ctr"/>
              <a:r>
                <a:rPr lang="en-US" sz="1300" b="1" dirty="0">
                  <a:solidFill>
                    <a:srgbClr val="0C2652"/>
                  </a:solidFill>
                </a:rPr>
                <a:t>Diagnostic Tes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6235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9278B9A-E386-4BFA-B34D-EA417F131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767551"/>
              </p:ext>
            </p:extLst>
          </p:nvPr>
        </p:nvGraphicFramePr>
        <p:xfrm>
          <a:off x="548640" y="685800"/>
          <a:ext cx="8046720" cy="54864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046720">
                  <a:extLst>
                    <a:ext uri="{9D8B030D-6E8A-4147-A177-3AD203B41FA5}">
                      <a16:colId xmlns:a16="http://schemas.microsoft.com/office/drawing/2014/main" val="1399054845"/>
                    </a:ext>
                  </a:extLst>
                </a:gridCol>
              </a:tblGrid>
              <a:tr h="685800">
                <a:tc>
                  <a:txBody>
                    <a:bodyPr/>
                    <a:lstStyle/>
                    <a:p>
                      <a:pPr marL="341313" marR="0" lvl="0" indent="-341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.	</a:t>
                      </a:r>
                      <a:r>
                        <a:rPr lang="en-US" sz="1600" b="1" kern="1200" cap="small" baseline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ecutive Summary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00353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2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ustry Overview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921284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400050" marR="0" lvl="0" indent="-4000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romanUcPeriod" startAt="3"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cial Overview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2570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V.    Environmental, Social &amp; Governance Analysi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85188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.     Competitive Landscap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861106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.    Catalysts and risks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6767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.    Investment Rationale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09101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small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II.   Comps and DCF Models (Financial Models)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8899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8255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0C7D225-6D82-4505-9091-73375EDA83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39246"/>
            <a:ext cx="8012640" cy="19389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>
                <a:latin typeface="Calibri"/>
                <a:cs typeface="Calibri"/>
              </a:rPr>
              <a:t>  Financial Overview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7EF30C-1D3B-4936-9F75-4CE51B3A1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ical data and financial highli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CCB670-5486-444F-9DA5-8AA2FEFC31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apital IQ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370E0F-9785-49B8-AA8C-D6AE28D817A9}"/>
              </a:ext>
            </a:extLst>
          </p:cNvPr>
          <p:cNvSpPr txBox="1"/>
          <p:nvPr/>
        </p:nvSpPr>
        <p:spPr>
          <a:xfrm>
            <a:off x="6725056" y="1052164"/>
            <a:ext cx="1325748" cy="228104"/>
          </a:xfrm>
          <a:prstGeom prst="rect">
            <a:avLst/>
          </a:prstGeom>
        </p:spPr>
        <p:txBody>
          <a:bodyPr vert="horz" wrap="none" lIns="0" tIns="0" rIns="0" bIns="9144" rtlCol="0" anchor="ctr">
            <a:spAutoFit/>
          </a:bodyPr>
          <a:lstStyle/>
          <a:p>
            <a:r>
              <a:rPr lang="en-US" sz="1300" b="1" dirty="0">
                <a:solidFill>
                  <a:srgbClr val="0C2652"/>
                </a:solidFill>
              </a:rPr>
              <a:t>Revenue Highligh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FE4AD4-C88C-47B5-A776-697624301ADB}"/>
              </a:ext>
            </a:extLst>
          </p:cNvPr>
          <p:cNvSpPr/>
          <p:nvPr/>
        </p:nvSpPr>
        <p:spPr>
          <a:xfrm>
            <a:off x="6138510" y="1337052"/>
            <a:ext cx="1173092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>
                <a:cs typeface="Calibri"/>
              </a:rPr>
              <a:t>Management expectations for Q1:</a:t>
            </a:r>
          </a:p>
          <a:p>
            <a:pPr algn="ctr"/>
            <a:r>
              <a:rPr lang="en-US" sz="1000">
                <a:cs typeface="Calibri"/>
              </a:rPr>
              <a:t>At least $1.50 EP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E78B6F-BEEB-4E49-A3E5-B9DE907DD094}"/>
              </a:ext>
            </a:extLst>
          </p:cNvPr>
          <p:cNvSpPr/>
          <p:nvPr/>
        </p:nvSpPr>
        <p:spPr>
          <a:xfrm>
            <a:off x="6131321" y="3986807"/>
            <a:ext cx="1173091" cy="987477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Calibri"/>
              </a:rPr>
              <a:t>Adult Nutrition Brand sales increased 8.1% from 2020 Q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C83910-C739-489E-9FDB-4B238C62D521}"/>
              </a:ext>
            </a:extLst>
          </p:cNvPr>
          <p:cNvSpPr/>
          <p:nvPr/>
        </p:nvSpPr>
        <p:spPr>
          <a:xfrm>
            <a:off x="7616916" y="3986794"/>
            <a:ext cx="1173090" cy="987502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Calibri"/>
              </a:rPr>
              <a:t>Higher Diagnostic Revenue: $4.47B</a:t>
            </a:r>
          </a:p>
          <a:p>
            <a:pPr algn="ctr"/>
            <a:r>
              <a:rPr lang="en-US" sz="1000" dirty="0">
                <a:cs typeface="Calibri"/>
              </a:rPr>
              <a:t>Beat estimates</a:t>
            </a:r>
          </a:p>
          <a:p>
            <a:pPr algn="ctr"/>
            <a:r>
              <a:rPr lang="en-US" sz="1000" dirty="0">
                <a:cs typeface="Calibri"/>
              </a:rPr>
              <a:t>Stability in Revenue in Q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B52D6E-511A-4A68-BB9E-D2CCC40BCD8F}"/>
              </a:ext>
            </a:extLst>
          </p:cNvPr>
          <p:cNvSpPr/>
          <p:nvPr/>
        </p:nvSpPr>
        <p:spPr>
          <a:xfrm>
            <a:off x="7616916" y="1350129"/>
            <a:ext cx="1187471" cy="987494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Calibri"/>
              </a:rPr>
              <a:t>Consistent Total Revenue Increase</a:t>
            </a:r>
          </a:p>
          <a:p>
            <a:pPr algn="ctr"/>
            <a:r>
              <a:rPr lang="en-US" sz="1000" dirty="0">
                <a:cs typeface="Calibri"/>
              </a:rPr>
              <a:t>57% Growth </a:t>
            </a:r>
          </a:p>
          <a:p>
            <a:pPr algn="ctr"/>
            <a:r>
              <a:rPr lang="en-US" sz="1000" dirty="0">
                <a:cs typeface="Calibri"/>
              </a:rPr>
              <a:t>Over 5-year Perio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9B04FE-62E0-4A2B-A5C1-8CF663DE1E8B}"/>
              </a:ext>
            </a:extLst>
          </p:cNvPr>
          <p:cNvSpPr/>
          <p:nvPr/>
        </p:nvSpPr>
        <p:spPr>
          <a:xfrm>
            <a:off x="6124132" y="2643263"/>
            <a:ext cx="1187470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/>
              <a:t>Continuous EPS Growth</a:t>
            </a:r>
          </a:p>
          <a:p>
            <a:pPr algn="ctr"/>
            <a:r>
              <a:rPr lang="en-US" sz="1000">
                <a:cs typeface="Calibri"/>
              </a:rPr>
              <a:t>Over 5-Year Perio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D0003B-B1D6-4533-A277-4375B8F28DB2}"/>
              </a:ext>
            </a:extLst>
          </p:cNvPr>
          <p:cNvSpPr/>
          <p:nvPr/>
        </p:nvSpPr>
        <p:spPr>
          <a:xfrm>
            <a:off x="7616916" y="2662085"/>
            <a:ext cx="1173091" cy="987493"/>
          </a:xfrm>
          <a:prstGeom prst="rect">
            <a:avLst/>
          </a:prstGeom>
          <a:solidFill>
            <a:srgbClr val="82B3DB"/>
          </a:solidFill>
          <a:ln>
            <a:solidFill>
              <a:srgbClr val="82B3D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000" dirty="0">
                <a:cs typeface="Calibri"/>
              </a:rPr>
              <a:t>EBITDA has increased by 110% over 5-Year period</a:t>
            </a:r>
          </a:p>
        </p:txBody>
      </p:sp>
      <p:pic>
        <p:nvPicPr>
          <p:cNvPr id="6" name="Picture 5" descr="Table&#10;&#10;Description automatically generated with low confidence">
            <a:extLst>
              <a:ext uri="{FF2B5EF4-FFF2-40B4-BE49-F238E27FC236}">
                <a16:creationId xmlns:a16="http://schemas.microsoft.com/office/drawing/2014/main" id="{D81F7AA9-1D70-4928-8337-D2F13F6BD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62" y="1052164"/>
            <a:ext cx="5391902" cy="399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48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84BC37-002C-4C7B-B769-FA19884ED0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9006" y="662540"/>
            <a:ext cx="8084526" cy="186077"/>
          </a:xfrm>
        </p:spPr>
        <p:txBody>
          <a:bodyPr/>
          <a:lstStyle/>
          <a:p>
            <a:r>
              <a:rPr lang="en-US"/>
              <a:t>Financial Overview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DCE84CF-7662-4AE8-B66E-12DB1F6D6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ock Chart &amp; Enterprise Valu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567879-4C0F-4060-A1C6-BE4E59A735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ources: Capital IQ &amp; Company Filing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D2FC330-B297-42A8-B246-0F4BEDD68846}"/>
              </a:ext>
            </a:extLst>
          </p:cNvPr>
          <p:cNvGrpSpPr/>
          <p:nvPr/>
        </p:nvGrpSpPr>
        <p:grpSpPr>
          <a:xfrm>
            <a:off x="526687" y="913930"/>
            <a:ext cx="8125728" cy="224280"/>
            <a:chOff x="544196" y="4900716"/>
            <a:chExt cx="8044454" cy="224280"/>
          </a:xfrm>
        </p:grpSpPr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95C213AC-CC3B-4DEB-B50E-C0499DE57C58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F977625-DDBC-4FE6-971C-F78E1033D0CE}"/>
                </a:ext>
              </a:extLst>
            </p:cNvPr>
            <p:cNvSpPr txBox="1"/>
            <p:nvPr/>
          </p:nvSpPr>
          <p:spPr>
            <a:xfrm>
              <a:off x="544196" y="4900716"/>
              <a:ext cx="1223109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r>
                <a:rPr lang="en-US" sz="1300" b="1">
                  <a:solidFill>
                    <a:srgbClr val="0C2652"/>
                  </a:solidFill>
                </a:rPr>
                <a:t>5 Year Stock Data 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883AAED-6274-45A1-8F69-047F1010BE68}"/>
              </a:ext>
            </a:extLst>
          </p:cNvPr>
          <p:cNvGrpSpPr/>
          <p:nvPr/>
        </p:nvGrpSpPr>
        <p:grpSpPr>
          <a:xfrm>
            <a:off x="526687" y="4746103"/>
            <a:ext cx="8123409" cy="247375"/>
            <a:chOff x="546492" y="4877621"/>
            <a:chExt cx="8042158" cy="247375"/>
          </a:xfrm>
        </p:grpSpPr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EAE24567-1222-4A97-A6CE-045D1698A60E}"/>
                </a:ext>
              </a:extLst>
            </p:cNvPr>
            <p:cNvCxnSpPr/>
            <p:nvPr/>
          </p:nvCxnSpPr>
          <p:spPr>
            <a:xfrm>
              <a:off x="546492" y="5124996"/>
              <a:ext cx="8042158" cy="0"/>
            </a:xfrm>
            <a:prstGeom prst="straightConnector1">
              <a:avLst/>
            </a:prstGeom>
            <a:ln w="12700">
              <a:solidFill>
                <a:srgbClr val="0C265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75DAE35-216F-4255-B907-9B82165808EA}"/>
                </a:ext>
              </a:extLst>
            </p:cNvPr>
            <p:cNvSpPr txBox="1"/>
            <p:nvPr/>
          </p:nvSpPr>
          <p:spPr>
            <a:xfrm>
              <a:off x="546492" y="4877621"/>
              <a:ext cx="2436125" cy="209288"/>
            </a:xfrm>
            <a:prstGeom prst="rect">
              <a:avLst/>
            </a:prstGeom>
          </p:spPr>
          <p:txBody>
            <a:bodyPr vert="horz" wrap="none" lIns="0" tIns="0" rIns="0" bIns="9144" rtlCol="0" anchor="ctr">
              <a:spAutoFit/>
            </a:bodyPr>
            <a:lstStyle/>
            <a:p>
              <a:pPr algn="ctr"/>
              <a:r>
                <a:rPr lang="en-US" sz="1300" b="1">
                  <a:solidFill>
                    <a:srgbClr val="0C2652"/>
                  </a:solidFill>
                </a:rPr>
                <a:t>Enterprise Value Calculation ($MM</a:t>
              </a:r>
              <a:r>
                <a:rPr lang="en-US" sz="1300" b="1"/>
                <a:t>)</a:t>
              </a:r>
            </a:p>
          </p:txBody>
        </p:sp>
      </p:grpSp>
      <p:graphicFrame>
        <p:nvGraphicFramePr>
          <p:cNvPr id="70" name="Chart 69">
            <a:extLst>
              <a:ext uri="{FF2B5EF4-FFF2-40B4-BE49-F238E27FC236}">
                <a16:creationId xmlns:a16="http://schemas.microsoft.com/office/drawing/2014/main" id="{86E11F73-A305-46B2-ACA8-28211537A2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8595022"/>
              </p:ext>
            </p:extLst>
          </p:nvPr>
        </p:nvGraphicFramePr>
        <p:xfrm>
          <a:off x="686406" y="1201294"/>
          <a:ext cx="7762785" cy="3467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080A6563-F306-4452-A9F4-BB66C51328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6686" y="4993478"/>
            <a:ext cx="8146027" cy="135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856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18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1500"/>
  <p:tag name="MIO_UPDATE" val="True"/>
  <p:tag name="MIO_VERSION" val="12.02.2015 11:56:53"/>
  <p:tag name="MIO_DBID" val="2F7A6069-81FD-4996-930C-4E3ED8DE22F8"/>
  <p:tag name="MIO_LASTDOWNLOADED" val="12.07.2016 10:59:07"/>
  <p:tag name="MIO_OBJECTNAME" val="AltiumStandardBa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eVFHRyWU6ejQC8wIms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tiumStandardBas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05000"/>
          </a:lnSpc>
          <a:defRPr sz="1200" kern="0" dirty="0" err="1" smtClean="0">
            <a:solidFill>
              <a:srgbClr val="0F2F45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000" dirty="0" err="1" smtClean="0"/>
        </a:defPPr>
      </a:lstStyle>
    </a:txDef>
  </a:objectDefaults>
  <a:extraClrSchemeLst>
    <a:extraClrScheme>
      <a:clrScheme name="Altium">
        <a:dk1>
          <a:srgbClr val="0F2F45"/>
        </a:dk1>
        <a:lt1>
          <a:sysClr val="window" lastClr="FFFFFF"/>
        </a:lt1>
        <a:dk2>
          <a:srgbClr val="2D415F"/>
        </a:dk2>
        <a:lt2>
          <a:srgbClr val="D9E7EF"/>
        </a:lt2>
        <a:accent1>
          <a:srgbClr val="005A91"/>
        </a:accent1>
        <a:accent2>
          <a:srgbClr val="B4CDE6"/>
        </a:accent2>
        <a:accent3>
          <a:srgbClr val="BBA965"/>
        </a:accent3>
        <a:accent4>
          <a:srgbClr val="DCD3B0"/>
        </a:accent4>
        <a:accent5>
          <a:srgbClr val="776C8C"/>
        </a:accent5>
        <a:accent6>
          <a:srgbClr val="B2A8B8"/>
        </a:accent6>
        <a:hlink>
          <a:srgbClr val="0096E6"/>
        </a:hlink>
        <a:folHlink>
          <a:srgbClr val="50415A"/>
        </a:folHlink>
      </a:clrScheme>
    </a:extraClrScheme>
  </a:extraClrSchemeLst>
  <a:extLst>
    <a:ext uri="{05A4C25C-085E-4340-85A3-A5531E510DB2}">
      <thm15:themeFamily xmlns:thm15="http://schemas.microsoft.com/office/thememl/2012/main" name="Presentation7" id="{D6413CE3-21AC-4365-BDDA-2231D283D7BD}" vid="{4E370530-FABA-43B6-8784-9B7B6195F5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7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B5E02EE7-C523-4ACB-9DC3-61382EC9E764}">
  <we:reference id="36907bf5-2c4b-4ebb-b2d8-8ed6acad83c2" version="1.0.0.0" store="\\ssfofile01b\banking\admin\logointern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A4D22D7ECD874092D8C035CADDC5AE" ma:contentTypeVersion="15" ma:contentTypeDescription="Create a new document." ma:contentTypeScope="" ma:versionID="6cfae23da1d52f61cbb54f574097bdac">
  <xsd:schema xmlns:xsd="http://www.w3.org/2001/XMLSchema" xmlns:xs="http://www.w3.org/2001/XMLSchema" xmlns:p="http://schemas.microsoft.com/office/2006/metadata/properties" xmlns:ns1="http://schemas.microsoft.com/sharepoint/v3" xmlns:ns3="cfe2015d-0817-4757-919e-483687257433" xmlns:ns4="4774e80d-d562-4c8a-9c31-c34ae77ead34" targetNamespace="http://schemas.microsoft.com/office/2006/metadata/properties" ma:root="true" ma:fieldsID="b294709f6276077f8249d4559883c436" ns1:_="" ns3:_="" ns4:_="">
    <xsd:import namespace="http://schemas.microsoft.com/sharepoint/v3"/>
    <xsd:import namespace="cfe2015d-0817-4757-919e-483687257433"/>
    <xsd:import namespace="4774e80d-d562-4c8a-9c31-c34ae77ead3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2015d-0817-4757-919e-4836872574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74e80d-d562-4c8a-9c31-c34ae77ead3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FE5C566-09E4-400A-B81F-C22739D4FE47}">
  <ds:schemaRefs>
    <ds:schemaRef ds:uri="4774e80d-d562-4c8a-9c31-c34ae77ead34"/>
    <ds:schemaRef ds:uri="cfe2015d-0817-4757-919e-48368725743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843E8DF-CDF5-444E-B8ED-A97E00B90A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B6BFBC-6292-4950-AE71-44BDA5A88DF2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www.w3.org/2000/xmlns/"/>
    <ds:schemaRef ds:uri="http://www.w3.org/2001/XMLSchema-instan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179</Words>
  <Application>Microsoft Office PowerPoint</Application>
  <PresentationFormat>On-screen Show (4:3)</PresentationFormat>
  <Paragraphs>337</Paragraphs>
  <Slides>2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Calibri</vt:lpstr>
      <vt:lpstr>Calibri Light</vt:lpstr>
      <vt:lpstr>Calibri Light,Sans-Serif</vt:lpstr>
      <vt:lpstr>Calibri,Sans-Serif</vt:lpstr>
      <vt:lpstr>Courier New</vt:lpstr>
      <vt:lpstr>Garamond</vt:lpstr>
      <vt:lpstr>Symbol</vt:lpstr>
      <vt:lpstr>System Font Regular</vt:lpstr>
      <vt:lpstr>Wingdings 3</vt:lpstr>
      <vt:lpstr>'Wingdings 3',Sans-Serif</vt:lpstr>
      <vt:lpstr>AltiumStandardBase</vt:lpstr>
      <vt:lpstr>think-cell Slide</vt:lpstr>
      <vt:lpstr>PowerPoint Presentation</vt:lpstr>
      <vt:lpstr>PowerPoint Presentation</vt:lpstr>
      <vt:lpstr>Abbott Overview</vt:lpstr>
      <vt:lpstr>PowerPoint Presentation</vt:lpstr>
      <vt:lpstr>Market Trends: Medical Devices</vt:lpstr>
      <vt:lpstr>Market Trends: Diagnostics</vt:lpstr>
      <vt:lpstr>PowerPoint Presentation</vt:lpstr>
      <vt:lpstr>Historical data and financial highlights</vt:lpstr>
      <vt:lpstr>Stock Chart &amp; Enterprise Value</vt:lpstr>
      <vt:lpstr>PowerPoint Presentation</vt:lpstr>
      <vt:lpstr>Environmental, social &amp; governance analysis</vt:lpstr>
      <vt:lpstr>PowerPoint Presentation</vt:lpstr>
      <vt:lpstr>Competitive Landscape</vt:lpstr>
      <vt:lpstr>PowerPoint Presentation</vt:lpstr>
      <vt:lpstr>Catalysts &amp; Risks</vt:lpstr>
      <vt:lpstr>PowerPoint Presentation</vt:lpstr>
      <vt:lpstr>Investment Rationale</vt:lpstr>
      <vt:lpstr>PowerPoint Presentation</vt:lpstr>
      <vt:lpstr>Comps and DCF Models (Financial Models)</vt:lpstr>
      <vt:lpstr>Comps and DCF Models (Financial Models)</vt:lpstr>
      <vt:lpstr>Comps and DCF Models (Financial Models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 Case Study - Summer 2021</dc:title>
  <dc:creator>mbrophy@gcaglobal.com</dc:creator>
  <cp:lastModifiedBy>Bayron Quillay</cp:lastModifiedBy>
  <cp:revision>1</cp:revision>
  <cp:lastPrinted>2019-10-17T16:57:00Z</cp:lastPrinted>
  <dcterms:created xsi:type="dcterms:W3CDTF">2017-10-12T16:44:56Z</dcterms:created>
  <dcterms:modified xsi:type="dcterms:W3CDTF">2022-04-07T00:4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A4D22D7ECD874092D8C035CADDC5AE</vt:lpwstr>
  </property>
</Properties>
</file>